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9"/>
  </p:notesMasterIdLst>
  <p:sldIdLst>
    <p:sldId id="256" r:id="rId2"/>
    <p:sldId id="271" r:id="rId3"/>
    <p:sldId id="2510" r:id="rId4"/>
    <p:sldId id="257" r:id="rId5"/>
    <p:sldId id="266" r:id="rId6"/>
    <p:sldId id="269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7" r:id="rId16"/>
    <p:sldId id="268" r:id="rId17"/>
    <p:sldId id="270" r:id="rId18"/>
  </p:sldIdLst>
  <p:sldSz cx="18288000" cy="10287000"/>
  <p:notesSz cx="6858000" cy="9144000"/>
  <p:embeddedFontLst>
    <p:embeddedFont>
      <p:font typeface="Algerian" panose="04020705040A02060702" pitchFamily="82" charset="0"/>
      <p:regular r:id="rId20"/>
    </p:embeddedFont>
    <p:embeddedFont>
      <p:font typeface="Archivo Black" panose="020B0604020202020204" charset="0"/>
      <p:regular r:id="rId21"/>
    </p:embeddedFont>
    <p:embeddedFont>
      <p:font typeface="Arial Black" panose="020B0A04020102020204" pitchFamily="34" charset="0"/>
      <p:bold r:id="rId22"/>
    </p:embeddedFont>
    <p:embeddedFont>
      <p:font typeface="Arial Narrow" panose="020B0606020202030204" pitchFamily="34" charset="0"/>
      <p:regular r:id="rId23"/>
      <p:bold r:id="rId24"/>
      <p:italic r:id="rId25"/>
      <p:boldItalic r:id="rId26"/>
    </p:embeddedFont>
    <p:embeddedFont>
      <p:font typeface="Arial Rounded MT Bold" panose="020F0704030504030204" pitchFamily="34" charset="0"/>
      <p:regular r:id="rId27"/>
    </p:embeddedFont>
    <p:embeddedFont>
      <p:font typeface="Montserrat Classic" panose="020B0604020202020204" charset="0"/>
      <p:regular r:id="rId28"/>
    </p:embeddedFont>
    <p:embeddedFont>
      <p:font typeface="Montserrat Classic Bold" panose="020B0604020202020204" charset="0"/>
      <p:regular r:id="rId29"/>
    </p:embeddedFont>
    <p:embeddedFont>
      <p:font typeface="Montserrat Light" panose="00000400000000000000" pitchFamily="2" charset="0"/>
      <p:regular r:id="rId30"/>
      <p:italic r:id="rId31"/>
    </p:embeddedFont>
    <p:embeddedFont>
      <p:font typeface="Montserrat Light Bold" panose="020B0604020202020204" charset="0"/>
      <p:regular r:id="rId32"/>
    </p:embeddedFont>
    <p:embeddedFont>
      <p:font typeface="Raleway Light" pitchFamily="2" charset="0"/>
      <p:regular r:id="rId33"/>
      <p:italic r:id="rId3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C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277" autoAdjust="0"/>
    <p:restoredTop sz="94622" autoAdjust="0"/>
  </p:normalViewPr>
  <p:slideViewPr>
    <p:cSldViewPr>
      <p:cViewPr varScale="1">
        <p:scale>
          <a:sx n="59" d="100"/>
          <a:sy n="59" d="100"/>
        </p:scale>
        <p:origin x="86" y="139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7.fntdata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7CE684-7674-4DD4-AFB6-776A90A966D2}" type="datetimeFigureOut">
              <a:rPr lang="en-IN" smtClean="0"/>
              <a:t>09-07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CA067-2C39-439C-9E14-F71FE81C514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6457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13" Type="http://schemas.openxmlformats.org/officeDocument/2006/relationships/image" Target="../media/image72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sv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0" Type="http://schemas.openxmlformats.org/officeDocument/2006/relationships/image" Target="../media/image69.svg"/><Relationship Id="rId4" Type="http://schemas.openxmlformats.org/officeDocument/2006/relationships/image" Target="../media/image63.svg"/><Relationship Id="rId9" Type="http://schemas.openxmlformats.org/officeDocument/2006/relationships/image" Target="../media/image68.png"/><Relationship Id="rId14" Type="http://schemas.openxmlformats.org/officeDocument/2006/relationships/image" Target="../media/image73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3" Type="http://schemas.openxmlformats.org/officeDocument/2006/relationships/image" Target="../media/image4.png"/><Relationship Id="rId7" Type="http://schemas.openxmlformats.org/officeDocument/2006/relationships/image" Target="../media/image7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10" Type="http://schemas.openxmlformats.org/officeDocument/2006/relationships/image" Target="../media/image80.svg"/><Relationship Id="rId4" Type="http://schemas.openxmlformats.org/officeDocument/2006/relationships/image" Target="../media/image74.jpeg"/><Relationship Id="rId9" Type="http://schemas.openxmlformats.org/officeDocument/2006/relationships/image" Target="../media/image7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svg"/><Relationship Id="rId5" Type="http://schemas.openxmlformats.org/officeDocument/2006/relationships/image" Target="../media/image83.png"/><Relationship Id="rId4" Type="http://schemas.openxmlformats.org/officeDocument/2006/relationships/image" Target="../media/image8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7.jpeg"/><Relationship Id="rId5" Type="http://schemas.openxmlformats.org/officeDocument/2006/relationships/image" Target="../media/image82.jpeg"/><Relationship Id="rId4" Type="http://schemas.openxmlformats.org/officeDocument/2006/relationships/image" Target="../media/image8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svg"/><Relationship Id="rId13" Type="http://schemas.openxmlformats.org/officeDocument/2006/relationships/image" Target="../media/image98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12" Type="http://schemas.openxmlformats.org/officeDocument/2006/relationships/image" Target="../media/image97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1.sv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0" Type="http://schemas.openxmlformats.org/officeDocument/2006/relationships/image" Target="../media/image95.svg"/><Relationship Id="rId4" Type="http://schemas.openxmlformats.org/officeDocument/2006/relationships/image" Target="../media/image89.svg"/><Relationship Id="rId9" Type="http://schemas.openxmlformats.org/officeDocument/2006/relationships/image" Target="../media/image94.png"/><Relationship Id="rId14" Type="http://schemas.openxmlformats.org/officeDocument/2006/relationships/image" Target="../media/image99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0.jpeg"/><Relationship Id="rId7" Type="http://schemas.openxmlformats.org/officeDocument/2006/relationships/image" Target="../media/image104.sv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.png"/><Relationship Id="rId5" Type="http://schemas.openxmlformats.org/officeDocument/2006/relationships/image" Target="../media/image102.svg"/><Relationship Id="rId10" Type="http://schemas.openxmlformats.org/officeDocument/2006/relationships/image" Target="../media/image107.jpeg"/><Relationship Id="rId4" Type="http://schemas.openxmlformats.org/officeDocument/2006/relationships/image" Target="../media/image101.png"/><Relationship Id="rId9" Type="http://schemas.openxmlformats.org/officeDocument/2006/relationships/image" Target="../media/image106.svg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2.png"/><Relationship Id="rId21" Type="http://schemas.openxmlformats.org/officeDocument/2006/relationships/image" Target="../media/image127.svg"/><Relationship Id="rId42" Type="http://schemas.openxmlformats.org/officeDocument/2006/relationships/image" Target="../media/image148.png"/><Relationship Id="rId47" Type="http://schemas.openxmlformats.org/officeDocument/2006/relationships/image" Target="../media/image153.svg"/><Relationship Id="rId63" Type="http://schemas.openxmlformats.org/officeDocument/2006/relationships/image" Target="../media/image169.svg"/><Relationship Id="rId68" Type="http://schemas.openxmlformats.org/officeDocument/2006/relationships/image" Target="../media/image174.png"/><Relationship Id="rId84" Type="http://schemas.openxmlformats.org/officeDocument/2006/relationships/image" Target="../media/image77.png"/><Relationship Id="rId89" Type="http://schemas.openxmlformats.org/officeDocument/2006/relationships/image" Target="../media/image42.svg"/><Relationship Id="rId16" Type="http://schemas.openxmlformats.org/officeDocument/2006/relationships/image" Target="../media/image122.png"/><Relationship Id="rId11" Type="http://schemas.openxmlformats.org/officeDocument/2006/relationships/image" Target="../media/image117.svg"/><Relationship Id="rId32" Type="http://schemas.openxmlformats.org/officeDocument/2006/relationships/image" Target="../media/image138.png"/><Relationship Id="rId37" Type="http://schemas.openxmlformats.org/officeDocument/2006/relationships/image" Target="../media/image143.svg"/><Relationship Id="rId53" Type="http://schemas.openxmlformats.org/officeDocument/2006/relationships/image" Target="../media/image159.svg"/><Relationship Id="rId58" Type="http://schemas.openxmlformats.org/officeDocument/2006/relationships/image" Target="../media/image164.png"/><Relationship Id="rId74" Type="http://schemas.openxmlformats.org/officeDocument/2006/relationships/image" Target="../media/image43.png"/><Relationship Id="rId79" Type="http://schemas.openxmlformats.org/officeDocument/2006/relationships/image" Target="../media/image46.svg"/><Relationship Id="rId5" Type="http://schemas.openxmlformats.org/officeDocument/2006/relationships/image" Target="../media/image111.svg"/><Relationship Id="rId90" Type="http://schemas.openxmlformats.org/officeDocument/2006/relationships/image" Target="../media/image47.png"/><Relationship Id="rId95" Type="http://schemas.openxmlformats.org/officeDocument/2006/relationships/image" Target="../media/image189.svg"/><Relationship Id="rId22" Type="http://schemas.openxmlformats.org/officeDocument/2006/relationships/image" Target="../media/image128.png"/><Relationship Id="rId27" Type="http://schemas.openxmlformats.org/officeDocument/2006/relationships/image" Target="../media/image133.svg"/><Relationship Id="rId43" Type="http://schemas.openxmlformats.org/officeDocument/2006/relationships/image" Target="../media/image149.svg"/><Relationship Id="rId48" Type="http://schemas.openxmlformats.org/officeDocument/2006/relationships/image" Target="../media/image154.png"/><Relationship Id="rId64" Type="http://schemas.openxmlformats.org/officeDocument/2006/relationships/image" Target="../media/image170.png"/><Relationship Id="rId69" Type="http://schemas.openxmlformats.org/officeDocument/2006/relationships/image" Target="../media/image175.svg"/><Relationship Id="rId80" Type="http://schemas.openxmlformats.org/officeDocument/2006/relationships/image" Target="../media/image182.png"/><Relationship Id="rId85" Type="http://schemas.openxmlformats.org/officeDocument/2006/relationships/image" Target="../media/image78.svg"/><Relationship Id="rId3" Type="http://schemas.openxmlformats.org/officeDocument/2006/relationships/image" Target="../media/image109.svg"/><Relationship Id="rId12" Type="http://schemas.openxmlformats.org/officeDocument/2006/relationships/image" Target="../media/image118.png"/><Relationship Id="rId17" Type="http://schemas.openxmlformats.org/officeDocument/2006/relationships/image" Target="../media/image123.svg"/><Relationship Id="rId25" Type="http://schemas.openxmlformats.org/officeDocument/2006/relationships/image" Target="../media/image131.svg"/><Relationship Id="rId33" Type="http://schemas.openxmlformats.org/officeDocument/2006/relationships/image" Target="../media/image139.svg"/><Relationship Id="rId38" Type="http://schemas.openxmlformats.org/officeDocument/2006/relationships/image" Target="../media/image144.png"/><Relationship Id="rId46" Type="http://schemas.openxmlformats.org/officeDocument/2006/relationships/image" Target="../media/image152.png"/><Relationship Id="rId59" Type="http://schemas.openxmlformats.org/officeDocument/2006/relationships/image" Target="../media/image165.svg"/><Relationship Id="rId67" Type="http://schemas.openxmlformats.org/officeDocument/2006/relationships/image" Target="../media/image173.svg"/><Relationship Id="rId20" Type="http://schemas.openxmlformats.org/officeDocument/2006/relationships/image" Target="../media/image126.png"/><Relationship Id="rId41" Type="http://schemas.openxmlformats.org/officeDocument/2006/relationships/image" Target="../media/image147.svg"/><Relationship Id="rId54" Type="http://schemas.openxmlformats.org/officeDocument/2006/relationships/image" Target="../media/image160.png"/><Relationship Id="rId62" Type="http://schemas.openxmlformats.org/officeDocument/2006/relationships/image" Target="../media/image168.png"/><Relationship Id="rId70" Type="http://schemas.openxmlformats.org/officeDocument/2006/relationships/image" Target="../media/image176.png"/><Relationship Id="rId75" Type="http://schemas.openxmlformats.org/officeDocument/2006/relationships/image" Target="../media/image44.svg"/><Relationship Id="rId83" Type="http://schemas.openxmlformats.org/officeDocument/2006/relationships/image" Target="../media/image185.svg"/><Relationship Id="rId88" Type="http://schemas.openxmlformats.org/officeDocument/2006/relationships/image" Target="../media/image41.png"/><Relationship Id="rId91" Type="http://schemas.openxmlformats.org/officeDocument/2006/relationships/image" Target="../media/image48.svg"/><Relationship Id="rId96" Type="http://schemas.openxmlformats.org/officeDocument/2006/relationships/image" Target="../media/image7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2.png"/><Relationship Id="rId15" Type="http://schemas.openxmlformats.org/officeDocument/2006/relationships/image" Target="../media/image121.svg"/><Relationship Id="rId23" Type="http://schemas.openxmlformats.org/officeDocument/2006/relationships/image" Target="../media/image129.svg"/><Relationship Id="rId28" Type="http://schemas.openxmlformats.org/officeDocument/2006/relationships/image" Target="../media/image134.png"/><Relationship Id="rId36" Type="http://schemas.openxmlformats.org/officeDocument/2006/relationships/image" Target="../media/image142.png"/><Relationship Id="rId49" Type="http://schemas.openxmlformats.org/officeDocument/2006/relationships/image" Target="../media/image155.svg"/><Relationship Id="rId57" Type="http://schemas.openxmlformats.org/officeDocument/2006/relationships/image" Target="../media/image163.svg"/><Relationship Id="rId10" Type="http://schemas.openxmlformats.org/officeDocument/2006/relationships/image" Target="../media/image116.png"/><Relationship Id="rId31" Type="http://schemas.openxmlformats.org/officeDocument/2006/relationships/image" Target="../media/image137.svg"/><Relationship Id="rId44" Type="http://schemas.openxmlformats.org/officeDocument/2006/relationships/image" Target="../media/image150.png"/><Relationship Id="rId52" Type="http://schemas.openxmlformats.org/officeDocument/2006/relationships/image" Target="../media/image158.png"/><Relationship Id="rId60" Type="http://schemas.openxmlformats.org/officeDocument/2006/relationships/image" Target="../media/image166.png"/><Relationship Id="rId65" Type="http://schemas.openxmlformats.org/officeDocument/2006/relationships/image" Target="../media/image171.svg"/><Relationship Id="rId73" Type="http://schemas.openxmlformats.org/officeDocument/2006/relationships/image" Target="../media/image179.svg"/><Relationship Id="rId78" Type="http://schemas.openxmlformats.org/officeDocument/2006/relationships/image" Target="../media/image45.png"/><Relationship Id="rId81" Type="http://schemas.openxmlformats.org/officeDocument/2006/relationships/image" Target="../media/image183.svg"/><Relationship Id="rId86" Type="http://schemas.openxmlformats.org/officeDocument/2006/relationships/image" Target="../media/image60.png"/><Relationship Id="rId94" Type="http://schemas.openxmlformats.org/officeDocument/2006/relationships/image" Target="../media/image188.png"/><Relationship Id="rId99" Type="http://schemas.openxmlformats.org/officeDocument/2006/relationships/image" Target="../media/image80.svg"/><Relationship Id="rId4" Type="http://schemas.openxmlformats.org/officeDocument/2006/relationships/image" Target="../media/image110.png"/><Relationship Id="rId9" Type="http://schemas.openxmlformats.org/officeDocument/2006/relationships/image" Target="../media/image115.svg"/><Relationship Id="rId13" Type="http://schemas.openxmlformats.org/officeDocument/2006/relationships/image" Target="../media/image119.svg"/><Relationship Id="rId18" Type="http://schemas.openxmlformats.org/officeDocument/2006/relationships/image" Target="../media/image124.png"/><Relationship Id="rId39" Type="http://schemas.openxmlformats.org/officeDocument/2006/relationships/image" Target="../media/image145.svg"/><Relationship Id="rId34" Type="http://schemas.openxmlformats.org/officeDocument/2006/relationships/image" Target="../media/image140.png"/><Relationship Id="rId50" Type="http://schemas.openxmlformats.org/officeDocument/2006/relationships/image" Target="../media/image156.png"/><Relationship Id="rId55" Type="http://schemas.openxmlformats.org/officeDocument/2006/relationships/image" Target="../media/image161.svg"/><Relationship Id="rId76" Type="http://schemas.openxmlformats.org/officeDocument/2006/relationships/image" Target="../media/image180.png"/><Relationship Id="rId97" Type="http://schemas.openxmlformats.org/officeDocument/2006/relationships/image" Target="../media/image76.svg"/><Relationship Id="rId7" Type="http://schemas.openxmlformats.org/officeDocument/2006/relationships/image" Target="../media/image113.svg"/><Relationship Id="rId71" Type="http://schemas.openxmlformats.org/officeDocument/2006/relationships/image" Target="../media/image177.svg"/><Relationship Id="rId92" Type="http://schemas.openxmlformats.org/officeDocument/2006/relationships/image" Target="../media/image186.png"/><Relationship Id="rId2" Type="http://schemas.openxmlformats.org/officeDocument/2006/relationships/image" Target="../media/image108.png"/><Relationship Id="rId29" Type="http://schemas.openxmlformats.org/officeDocument/2006/relationships/image" Target="../media/image135.svg"/><Relationship Id="rId24" Type="http://schemas.openxmlformats.org/officeDocument/2006/relationships/image" Target="../media/image130.png"/><Relationship Id="rId40" Type="http://schemas.openxmlformats.org/officeDocument/2006/relationships/image" Target="../media/image146.png"/><Relationship Id="rId45" Type="http://schemas.openxmlformats.org/officeDocument/2006/relationships/image" Target="../media/image151.svg"/><Relationship Id="rId66" Type="http://schemas.openxmlformats.org/officeDocument/2006/relationships/image" Target="../media/image172.png"/><Relationship Id="rId87" Type="http://schemas.openxmlformats.org/officeDocument/2006/relationships/image" Target="../media/image61.svg"/><Relationship Id="rId61" Type="http://schemas.openxmlformats.org/officeDocument/2006/relationships/image" Target="../media/image167.svg"/><Relationship Id="rId82" Type="http://schemas.openxmlformats.org/officeDocument/2006/relationships/image" Target="../media/image184.png"/><Relationship Id="rId19" Type="http://schemas.openxmlformats.org/officeDocument/2006/relationships/image" Target="../media/image125.svg"/><Relationship Id="rId14" Type="http://schemas.openxmlformats.org/officeDocument/2006/relationships/image" Target="../media/image120.png"/><Relationship Id="rId30" Type="http://schemas.openxmlformats.org/officeDocument/2006/relationships/image" Target="../media/image136.png"/><Relationship Id="rId35" Type="http://schemas.openxmlformats.org/officeDocument/2006/relationships/image" Target="../media/image141.svg"/><Relationship Id="rId56" Type="http://schemas.openxmlformats.org/officeDocument/2006/relationships/image" Target="../media/image162.png"/><Relationship Id="rId77" Type="http://schemas.openxmlformats.org/officeDocument/2006/relationships/image" Target="../media/image181.svg"/><Relationship Id="rId8" Type="http://schemas.openxmlformats.org/officeDocument/2006/relationships/image" Target="../media/image114.png"/><Relationship Id="rId51" Type="http://schemas.openxmlformats.org/officeDocument/2006/relationships/image" Target="../media/image157.svg"/><Relationship Id="rId72" Type="http://schemas.openxmlformats.org/officeDocument/2006/relationships/image" Target="../media/image178.png"/><Relationship Id="rId93" Type="http://schemas.openxmlformats.org/officeDocument/2006/relationships/image" Target="../media/image187.svg"/><Relationship Id="rId98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image" Target="../media/image7.png"/><Relationship Id="rId7" Type="http://schemas.microsoft.com/office/2007/relationships/hdphoto" Target="../media/hdphoto3.wdp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11" Type="http://schemas.openxmlformats.org/officeDocument/2006/relationships/image" Target="../media/image13.svg"/><Relationship Id="rId5" Type="http://schemas.openxmlformats.org/officeDocument/2006/relationships/image" Target="../media/image8.jpg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4" Type="http://schemas.microsoft.com/office/2007/relationships/hdphoto" Target="../media/hdphoto2.wdp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tasnimnews.com/en/news/2018/02/10/1652606/scientists-create-functioning-kidney-tissue" TargetMode="External"/><Relationship Id="rId4" Type="http://schemas.microsoft.com/office/2007/relationships/hdphoto" Target="../media/hdphoto4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4.png"/><Relationship Id="rId7" Type="http://schemas.openxmlformats.org/officeDocument/2006/relationships/image" Target="../media/image2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svg"/><Relationship Id="rId10" Type="http://schemas.openxmlformats.org/officeDocument/2006/relationships/image" Target="../media/image26.jpeg"/><Relationship Id="rId4" Type="http://schemas.openxmlformats.org/officeDocument/2006/relationships/image" Target="../media/image20.png"/><Relationship Id="rId9" Type="http://schemas.openxmlformats.org/officeDocument/2006/relationships/image" Target="../media/image2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7.jpeg"/><Relationship Id="rId7" Type="http://schemas.openxmlformats.org/officeDocument/2006/relationships/image" Target="../media/image30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jpeg"/><Relationship Id="rId11" Type="http://schemas.openxmlformats.org/officeDocument/2006/relationships/image" Target="../media/image34.svg"/><Relationship Id="rId5" Type="http://schemas.openxmlformats.org/officeDocument/2006/relationships/image" Target="../media/image28.jpeg"/><Relationship Id="rId10" Type="http://schemas.openxmlformats.org/officeDocument/2006/relationships/image" Target="../media/image33.png"/><Relationship Id="rId4" Type="http://schemas.openxmlformats.org/officeDocument/2006/relationships/image" Target="../media/image26.jpeg"/><Relationship Id="rId9" Type="http://schemas.openxmlformats.org/officeDocument/2006/relationships/image" Target="../media/image3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4.png"/><Relationship Id="rId7" Type="http://schemas.openxmlformats.org/officeDocument/2006/relationships/image" Target="../media/image37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5" Type="http://schemas.microsoft.com/office/2007/relationships/hdphoto" Target="../media/hdphoto5.wdp"/><Relationship Id="rId4" Type="http://schemas.openxmlformats.org/officeDocument/2006/relationships/image" Target="../media/image35.png"/><Relationship Id="rId9" Type="http://schemas.openxmlformats.org/officeDocument/2006/relationships/image" Target="../media/image3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10" Type="http://schemas.openxmlformats.org/officeDocument/2006/relationships/image" Target="../media/image48.svg"/><Relationship Id="rId4" Type="http://schemas.openxmlformats.org/officeDocument/2006/relationships/image" Target="../media/image42.svg"/><Relationship Id="rId9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-121920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0"/>
                </a:moveTo>
                <a:lnTo>
                  <a:pt x="0" y="0"/>
                </a:lnTo>
                <a:lnTo>
                  <a:pt x="0" y="10287000"/>
                </a:lnTo>
                <a:lnTo>
                  <a:pt x="18288000" y="10287000"/>
                </a:lnTo>
                <a:lnTo>
                  <a:pt x="18288000" y="0"/>
                </a:lnTo>
                <a:close/>
              </a:path>
            </a:pathLst>
          </a:custGeom>
          <a:blipFill dpi="0" rotWithShape="1">
            <a:blip r:embed="rId2">
              <a:alphaModFix amt="43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IN" dirty="0"/>
          </a:p>
        </p:txBody>
      </p:sp>
      <p:sp>
        <p:nvSpPr>
          <p:cNvPr id="4" name="Freeform 4"/>
          <p:cNvSpPr/>
          <p:nvPr/>
        </p:nvSpPr>
        <p:spPr>
          <a:xfrm rot="-4521330">
            <a:off x="4628096" y="1623127"/>
            <a:ext cx="14167639" cy="7119239"/>
          </a:xfrm>
          <a:custGeom>
            <a:avLst/>
            <a:gdLst/>
            <a:ahLst/>
            <a:cxnLst/>
            <a:rect l="l" t="t" r="r" b="b"/>
            <a:pathLst>
              <a:path w="14167639" h="7119239">
                <a:moveTo>
                  <a:pt x="0" y="0"/>
                </a:moveTo>
                <a:lnTo>
                  <a:pt x="14167639" y="0"/>
                </a:lnTo>
                <a:lnTo>
                  <a:pt x="14167639" y="7119238"/>
                </a:lnTo>
                <a:lnTo>
                  <a:pt x="0" y="711923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IN" dirty="0"/>
          </a:p>
        </p:txBody>
      </p: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9586782" y="-75402"/>
            <a:ext cx="8701218" cy="10400502"/>
            <a:chOff x="-2794" y="-127"/>
            <a:chExt cx="8606155" cy="10286874"/>
          </a:xfrm>
        </p:grpSpPr>
        <p:sp>
          <p:nvSpPr>
            <p:cNvPr id="6" name="Freeform 6"/>
            <p:cNvSpPr/>
            <p:nvPr/>
          </p:nvSpPr>
          <p:spPr>
            <a:xfrm>
              <a:off x="-2794" y="-127"/>
              <a:ext cx="8606155" cy="10286874"/>
            </a:xfrm>
            <a:custGeom>
              <a:avLst/>
              <a:gdLst/>
              <a:ahLst/>
              <a:cxnLst/>
              <a:rect l="l" t="t" r="r" b="b"/>
              <a:pathLst>
                <a:path w="8606155" h="10286874">
                  <a:moveTo>
                    <a:pt x="8606155" y="10251441"/>
                  </a:moveTo>
                  <a:cubicBezTo>
                    <a:pt x="8606155" y="10284588"/>
                    <a:pt x="8595487" y="10286874"/>
                    <a:pt x="8567674" y="10286874"/>
                  </a:cubicBezTo>
                  <a:cubicBezTo>
                    <a:pt x="5713094" y="10286239"/>
                    <a:pt x="2858643" y="10286239"/>
                    <a:pt x="4064" y="10286239"/>
                  </a:cubicBezTo>
                  <a:cubicBezTo>
                    <a:pt x="0" y="10272396"/>
                    <a:pt x="6350" y="10259823"/>
                    <a:pt x="9271" y="10246996"/>
                  </a:cubicBezTo>
                  <a:cubicBezTo>
                    <a:pt x="134747" y="9685402"/>
                    <a:pt x="260350" y="9123935"/>
                    <a:pt x="386207" y="8562467"/>
                  </a:cubicBezTo>
                  <a:cubicBezTo>
                    <a:pt x="565658" y="7761986"/>
                    <a:pt x="745490" y="6961633"/>
                    <a:pt x="924814" y="6161151"/>
                  </a:cubicBezTo>
                  <a:cubicBezTo>
                    <a:pt x="1146302" y="5172583"/>
                    <a:pt x="1367282" y="4184015"/>
                    <a:pt x="1588643" y="3195574"/>
                  </a:cubicBezTo>
                  <a:cubicBezTo>
                    <a:pt x="1813560" y="2191385"/>
                    <a:pt x="2038604" y="1187323"/>
                    <a:pt x="2264156" y="183261"/>
                  </a:cubicBezTo>
                  <a:cubicBezTo>
                    <a:pt x="2277872" y="122174"/>
                    <a:pt x="2286635" y="59690"/>
                    <a:pt x="2308860" y="635"/>
                  </a:cubicBezTo>
                  <a:cubicBezTo>
                    <a:pt x="4395216" y="635"/>
                    <a:pt x="6481572" y="635"/>
                    <a:pt x="8567928" y="0"/>
                  </a:cubicBezTo>
                  <a:cubicBezTo>
                    <a:pt x="8596249" y="0"/>
                    <a:pt x="8605901" y="3429"/>
                    <a:pt x="8605901" y="35814"/>
                  </a:cubicBezTo>
                  <a:cubicBezTo>
                    <a:pt x="8605139" y="3441066"/>
                    <a:pt x="8605139" y="6846317"/>
                    <a:pt x="8606155" y="10251441"/>
                  </a:cubicBezTo>
                  <a:close/>
                </a:path>
              </a:pathLst>
            </a:custGeom>
            <a:blipFill>
              <a:blip r:embed="rId4"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0" name="Freeform 10"/>
          <p:cNvSpPr/>
          <p:nvPr/>
        </p:nvSpPr>
        <p:spPr>
          <a:xfrm>
            <a:off x="4191521" y="6937923"/>
            <a:ext cx="9904959" cy="680751"/>
          </a:xfrm>
          <a:custGeom>
            <a:avLst/>
            <a:gdLst/>
            <a:ahLst/>
            <a:cxnLst/>
            <a:rect l="l" t="t" r="r" b="b"/>
            <a:pathLst>
              <a:path w="9904959" h="680751">
                <a:moveTo>
                  <a:pt x="0" y="0"/>
                </a:moveTo>
                <a:lnTo>
                  <a:pt x="9904958" y="0"/>
                </a:lnTo>
                <a:lnTo>
                  <a:pt x="9904958" y="680752"/>
                </a:lnTo>
                <a:lnTo>
                  <a:pt x="0" y="680752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187363"/>
            </a:stretch>
          </a:blipFill>
        </p:spPr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6F2760C-A471-452F-3D28-4E24C365EC78}"/>
              </a:ext>
            </a:extLst>
          </p:cNvPr>
          <p:cNvGrpSpPr/>
          <p:nvPr/>
        </p:nvGrpSpPr>
        <p:grpSpPr>
          <a:xfrm>
            <a:off x="4191520" y="2508979"/>
            <a:ext cx="9904959" cy="4780977"/>
            <a:chOff x="4267198" y="3214563"/>
            <a:chExt cx="9829281" cy="7652350"/>
          </a:xfrm>
        </p:grpSpPr>
        <p:grpSp>
          <p:nvGrpSpPr>
            <p:cNvPr id="7" name="Group 7"/>
            <p:cNvGrpSpPr/>
            <p:nvPr/>
          </p:nvGrpSpPr>
          <p:grpSpPr>
            <a:xfrm>
              <a:off x="4267198" y="3375101"/>
              <a:ext cx="9829281" cy="7491812"/>
              <a:chOff x="0" y="-19050"/>
              <a:chExt cx="2608713" cy="1895623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112510" y="0"/>
                <a:ext cx="2386893" cy="1876573"/>
              </a:xfrm>
              <a:custGeom>
                <a:avLst/>
                <a:gdLst/>
                <a:ahLst/>
                <a:cxnLst/>
                <a:rect l="l" t="t" r="r" b="b"/>
                <a:pathLst>
                  <a:path w="2608713" h="945211">
                    <a:moveTo>
                      <a:pt x="0" y="0"/>
                    </a:moveTo>
                    <a:lnTo>
                      <a:pt x="2608713" y="0"/>
                    </a:lnTo>
                    <a:lnTo>
                      <a:pt x="2608713" y="945211"/>
                    </a:lnTo>
                    <a:lnTo>
                      <a:pt x="0" y="945211"/>
                    </a:lnTo>
                    <a:close/>
                  </a:path>
                </a:pathLst>
              </a:custGeom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/>
              <a:lstStyle/>
              <a:p>
                <a:endParaRPr lang="en-IN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9050"/>
                <a:ext cx="2608713" cy="964261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859"/>
                  </a:lnSpc>
                </a:pPr>
                <a:endParaRPr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11" name="TextBox 11"/>
            <p:cNvSpPr txBox="1"/>
            <p:nvPr/>
          </p:nvSpPr>
          <p:spPr>
            <a:xfrm>
              <a:off x="4441321" y="4130049"/>
              <a:ext cx="9405358" cy="6587384"/>
            </a:xfrm>
            <a:prstGeom prst="rect">
              <a:avLst/>
            </a:prstGeom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lIns="0" tIns="0" rIns="0" bIns="0" rtlCol="0" anchor="t">
              <a:spAutoFit/>
            </a:bodyPr>
            <a:lstStyle/>
            <a:p>
              <a:pPr algn="ctr"/>
              <a:r>
                <a:rPr lang="en-US" sz="9600" spc="74" dirty="0">
                  <a:solidFill>
                    <a:schemeClr val="tx2">
                      <a:lumMod val="50000"/>
                    </a:schemeClr>
                  </a:solidFill>
                  <a:latin typeface="Archivo Black"/>
                  <a:ea typeface="Archivo Black"/>
                  <a:cs typeface="Archivo Black"/>
                  <a:sym typeface="Archivo Black"/>
                </a:rPr>
                <a:t>Detection of </a:t>
              </a:r>
              <a:r>
                <a:rPr lang="en-US" sz="9600" spc="172" dirty="0">
                  <a:solidFill>
                    <a:schemeClr val="tx2">
                      <a:lumMod val="50000"/>
                    </a:schemeClr>
                  </a:solidFill>
                  <a:latin typeface="Archivo Black"/>
                  <a:ea typeface="Archivo Black"/>
                  <a:cs typeface="Archivo Black"/>
                  <a:sym typeface="Archivo Black"/>
                </a:rPr>
                <a:t>Kidney Stones</a:t>
              </a:r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4846088" y="3214563"/>
              <a:ext cx="8675070" cy="137482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7294"/>
                </a:lnSpc>
              </a:pPr>
              <a:r>
                <a:rPr lang="en-US" sz="4400" spc="74" dirty="0">
                  <a:solidFill>
                    <a:schemeClr val="tx2">
                      <a:lumMod val="50000"/>
                    </a:schemeClr>
                  </a:solidFill>
                  <a:latin typeface="Archivo Black"/>
                  <a:ea typeface="Archivo Black"/>
                  <a:cs typeface="Archivo Black"/>
                  <a:sym typeface="Archivo Black"/>
                </a:rPr>
                <a:t>Demo - 1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5679E-6 L -0.0033 0.04815 " pathEditMode="relative" rAng="0" ptsTypes="AA">
                                      <p:cBhvr>
                                        <p:cTn id="6" dur="70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5" y="240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61111" b="-61111"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6455727" y="7409549"/>
            <a:ext cx="3189627" cy="8229600"/>
            <a:chOff x="0" y="0"/>
            <a:chExt cx="840066" cy="2167467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840066" cy="2167467"/>
            </a:xfrm>
            <a:custGeom>
              <a:avLst/>
              <a:gdLst/>
              <a:ahLst/>
              <a:cxnLst/>
              <a:rect l="l" t="t" r="r" b="b"/>
              <a:pathLst>
                <a:path w="840066" h="2167467">
                  <a:moveTo>
                    <a:pt x="60680" y="0"/>
                  </a:moveTo>
                  <a:lnTo>
                    <a:pt x="779386" y="0"/>
                  </a:lnTo>
                  <a:cubicBezTo>
                    <a:pt x="795479" y="0"/>
                    <a:pt x="810914" y="6393"/>
                    <a:pt x="822294" y="17773"/>
                  </a:cubicBezTo>
                  <a:cubicBezTo>
                    <a:pt x="833673" y="29153"/>
                    <a:pt x="840066" y="44587"/>
                    <a:pt x="840066" y="60680"/>
                  </a:cubicBezTo>
                  <a:lnTo>
                    <a:pt x="840066" y="2106786"/>
                  </a:lnTo>
                  <a:cubicBezTo>
                    <a:pt x="840066" y="2140299"/>
                    <a:pt x="812899" y="2167467"/>
                    <a:pt x="779386" y="2167467"/>
                  </a:cubicBezTo>
                  <a:lnTo>
                    <a:pt x="60680" y="2167467"/>
                  </a:lnTo>
                  <a:cubicBezTo>
                    <a:pt x="27168" y="2167467"/>
                    <a:pt x="0" y="2140299"/>
                    <a:pt x="0" y="2106786"/>
                  </a:cubicBezTo>
                  <a:lnTo>
                    <a:pt x="0" y="60680"/>
                  </a:lnTo>
                  <a:cubicBezTo>
                    <a:pt x="0" y="27168"/>
                    <a:pt x="27168" y="0"/>
                    <a:pt x="60680" y="0"/>
                  </a:cubicBezTo>
                  <a:close/>
                </a:path>
              </a:pathLst>
            </a:custGeom>
            <a:solidFill>
              <a:srgbClr val="FFFFFF">
                <a:alpha val="86667"/>
              </a:srgbClr>
            </a:solidFill>
            <a:ln cap="rnd">
              <a:noFill/>
              <a:prstDash val="solid"/>
              <a:round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19050"/>
              <a:ext cx="840066" cy="2186517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10262700" y="6172200"/>
            <a:ext cx="3189627" cy="8229600"/>
            <a:chOff x="0" y="0"/>
            <a:chExt cx="840066" cy="2167467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840066" cy="2167467"/>
            </a:xfrm>
            <a:custGeom>
              <a:avLst/>
              <a:gdLst/>
              <a:ahLst/>
              <a:cxnLst/>
              <a:rect l="l" t="t" r="r" b="b"/>
              <a:pathLst>
                <a:path w="840066" h="2167467">
                  <a:moveTo>
                    <a:pt x="60680" y="0"/>
                  </a:moveTo>
                  <a:lnTo>
                    <a:pt x="779386" y="0"/>
                  </a:lnTo>
                  <a:cubicBezTo>
                    <a:pt x="795479" y="0"/>
                    <a:pt x="810914" y="6393"/>
                    <a:pt x="822294" y="17773"/>
                  </a:cubicBezTo>
                  <a:cubicBezTo>
                    <a:pt x="833673" y="29153"/>
                    <a:pt x="840066" y="44587"/>
                    <a:pt x="840066" y="60680"/>
                  </a:cubicBezTo>
                  <a:lnTo>
                    <a:pt x="840066" y="2106786"/>
                  </a:lnTo>
                  <a:cubicBezTo>
                    <a:pt x="840066" y="2140299"/>
                    <a:pt x="812899" y="2167467"/>
                    <a:pt x="779386" y="2167467"/>
                  </a:cubicBezTo>
                  <a:lnTo>
                    <a:pt x="60680" y="2167467"/>
                  </a:lnTo>
                  <a:cubicBezTo>
                    <a:pt x="27168" y="2167467"/>
                    <a:pt x="0" y="2140299"/>
                    <a:pt x="0" y="2106786"/>
                  </a:cubicBezTo>
                  <a:lnTo>
                    <a:pt x="0" y="60680"/>
                  </a:lnTo>
                  <a:cubicBezTo>
                    <a:pt x="0" y="27168"/>
                    <a:pt x="27168" y="0"/>
                    <a:pt x="60680" y="0"/>
                  </a:cubicBezTo>
                  <a:close/>
                </a:path>
              </a:pathLst>
            </a:custGeom>
            <a:solidFill>
              <a:srgbClr val="FFFFFF">
                <a:alpha val="86667"/>
              </a:srgbClr>
            </a:solidFill>
            <a:ln cap="rnd">
              <a:noFill/>
              <a:prstDash val="solid"/>
              <a:round/>
            </a:ln>
          </p:spPr>
        </p:sp>
        <p:sp>
          <p:nvSpPr>
            <p:cNvPr id="8" name="TextBox 8"/>
            <p:cNvSpPr txBox="1"/>
            <p:nvPr/>
          </p:nvSpPr>
          <p:spPr>
            <a:xfrm>
              <a:off x="0" y="-19050"/>
              <a:ext cx="840066" cy="2186517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14069673" y="4761565"/>
            <a:ext cx="3189627" cy="8229600"/>
            <a:chOff x="0" y="0"/>
            <a:chExt cx="840066" cy="2167467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840066" cy="2167467"/>
            </a:xfrm>
            <a:custGeom>
              <a:avLst/>
              <a:gdLst/>
              <a:ahLst/>
              <a:cxnLst/>
              <a:rect l="l" t="t" r="r" b="b"/>
              <a:pathLst>
                <a:path w="840066" h="2167467">
                  <a:moveTo>
                    <a:pt x="60680" y="0"/>
                  </a:moveTo>
                  <a:lnTo>
                    <a:pt x="779386" y="0"/>
                  </a:lnTo>
                  <a:cubicBezTo>
                    <a:pt x="795479" y="0"/>
                    <a:pt x="810914" y="6393"/>
                    <a:pt x="822294" y="17773"/>
                  </a:cubicBezTo>
                  <a:cubicBezTo>
                    <a:pt x="833673" y="29153"/>
                    <a:pt x="840066" y="44587"/>
                    <a:pt x="840066" y="60680"/>
                  </a:cubicBezTo>
                  <a:lnTo>
                    <a:pt x="840066" y="2106786"/>
                  </a:lnTo>
                  <a:cubicBezTo>
                    <a:pt x="840066" y="2140299"/>
                    <a:pt x="812899" y="2167467"/>
                    <a:pt x="779386" y="2167467"/>
                  </a:cubicBezTo>
                  <a:lnTo>
                    <a:pt x="60680" y="2167467"/>
                  </a:lnTo>
                  <a:cubicBezTo>
                    <a:pt x="27168" y="2167467"/>
                    <a:pt x="0" y="2140299"/>
                    <a:pt x="0" y="2106786"/>
                  </a:cubicBezTo>
                  <a:lnTo>
                    <a:pt x="0" y="60680"/>
                  </a:lnTo>
                  <a:cubicBezTo>
                    <a:pt x="0" y="27168"/>
                    <a:pt x="27168" y="0"/>
                    <a:pt x="60680" y="0"/>
                  </a:cubicBezTo>
                  <a:close/>
                </a:path>
              </a:pathLst>
            </a:custGeom>
            <a:solidFill>
              <a:srgbClr val="FFFFFF">
                <a:alpha val="86667"/>
              </a:srgbClr>
            </a:solidFill>
            <a:ln cap="rnd">
              <a:noFill/>
              <a:prstDash val="solid"/>
              <a:round/>
            </a:ln>
          </p:spPr>
        </p:sp>
        <p:sp>
          <p:nvSpPr>
            <p:cNvPr id="11" name="TextBox 11"/>
            <p:cNvSpPr txBox="1"/>
            <p:nvPr/>
          </p:nvSpPr>
          <p:spPr>
            <a:xfrm>
              <a:off x="0" y="-19050"/>
              <a:ext cx="840066" cy="2186517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1646045" y="1988135"/>
            <a:ext cx="8616655" cy="3155365"/>
            <a:chOff x="0" y="0"/>
            <a:chExt cx="2269407" cy="831043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2269407" cy="831043"/>
            </a:xfrm>
            <a:custGeom>
              <a:avLst/>
              <a:gdLst/>
              <a:ahLst/>
              <a:cxnLst/>
              <a:rect l="l" t="t" r="r" b="b"/>
              <a:pathLst>
                <a:path w="2269407" h="831043">
                  <a:moveTo>
                    <a:pt x="22462" y="0"/>
                  </a:moveTo>
                  <a:lnTo>
                    <a:pt x="2246945" y="0"/>
                  </a:lnTo>
                  <a:cubicBezTo>
                    <a:pt x="2259350" y="0"/>
                    <a:pt x="2269407" y="10057"/>
                    <a:pt x="2269407" y="22462"/>
                  </a:cubicBezTo>
                  <a:lnTo>
                    <a:pt x="2269407" y="808580"/>
                  </a:lnTo>
                  <a:cubicBezTo>
                    <a:pt x="2269407" y="820986"/>
                    <a:pt x="2259350" y="831043"/>
                    <a:pt x="2246945" y="831043"/>
                  </a:cubicBezTo>
                  <a:lnTo>
                    <a:pt x="22462" y="831043"/>
                  </a:lnTo>
                  <a:cubicBezTo>
                    <a:pt x="10057" y="831043"/>
                    <a:pt x="0" y="820986"/>
                    <a:pt x="0" y="808580"/>
                  </a:cubicBezTo>
                  <a:lnTo>
                    <a:pt x="0" y="22462"/>
                  </a:lnTo>
                  <a:cubicBezTo>
                    <a:pt x="0" y="10057"/>
                    <a:pt x="10057" y="0"/>
                    <a:pt x="22462" y="0"/>
                  </a:cubicBezTo>
                  <a:close/>
                </a:path>
              </a:pathLst>
            </a:custGeom>
            <a:solidFill>
              <a:srgbClr val="FFFFFF">
                <a:alpha val="86667"/>
              </a:srgbClr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19050"/>
              <a:ext cx="2269407" cy="85009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sp>
        <p:nvSpPr>
          <p:cNvPr id="15" name="TextBox 15"/>
          <p:cNvSpPr txBox="1"/>
          <p:nvPr/>
        </p:nvSpPr>
        <p:spPr>
          <a:xfrm>
            <a:off x="2108006" y="2499940"/>
            <a:ext cx="7692734" cy="8486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6845"/>
              </a:lnSpc>
              <a:spcBef>
                <a:spcPct val="0"/>
              </a:spcBef>
            </a:pPr>
            <a:r>
              <a:rPr lang="en-US" sz="4960" u="none" strike="noStrike" spc="173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PROJECT TIMELINE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2275588" y="3507292"/>
            <a:ext cx="7357569" cy="13742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14"/>
              </a:lnSpc>
            </a:pPr>
            <a:r>
              <a:rPr lang="en-US" sz="1967" spc="192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17" name="Freeform 17"/>
          <p:cNvSpPr/>
          <p:nvPr/>
        </p:nvSpPr>
        <p:spPr>
          <a:xfrm>
            <a:off x="7456367" y="8212716"/>
            <a:ext cx="1105276" cy="1327297"/>
          </a:xfrm>
          <a:custGeom>
            <a:avLst/>
            <a:gdLst/>
            <a:ahLst/>
            <a:cxnLst/>
            <a:rect l="l" t="t" r="r" b="b"/>
            <a:pathLst>
              <a:path w="1105276" h="1327297">
                <a:moveTo>
                  <a:pt x="0" y="0"/>
                </a:moveTo>
                <a:lnTo>
                  <a:pt x="1105276" y="0"/>
                </a:lnTo>
                <a:lnTo>
                  <a:pt x="1105276" y="1327297"/>
                </a:lnTo>
                <a:lnTo>
                  <a:pt x="0" y="1327297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18" name="TextBox 18"/>
          <p:cNvSpPr txBox="1"/>
          <p:nvPr/>
        </p:nvSpPr>
        <p:spPr>
          <a:xfrm>
            <a:off x="6613767" y="7703045"/>
            <a:ext cx="2810608" cy="36020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980"/>
              </a:lnSpc>
            </a:pPr>
            <a:r>
              <a:rPr lang="en-US" sz="2159" spc="30">
                <a:solidFill>
                  <a:srgbClr val="040506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Project Initiation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10542800" y="6467330"/>
            <a:ext cx="2629427" cy="731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2980"/>
              </a:lnSpc>
              <a:spcBef>
                <a:spcPct val="0"/>
              </a:spcBef>
            </a:pPr>
            <a:r>
              <a:rPr lang="en-US" sz="2159" spc="30">
                <a:solidFill>
                  <a:srgbClr val="040506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Review and Editing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14349773" y="5105400"/>
            <a:ext cx="2629427" cy="731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2980"/>
              </a:lnSpc>
              <a:spcBef>
                <a:spcPct val="0"/>
              </a:spcBef>
            </a:pPr>
            <a:r>
              <a:rPr lang="en-US" sz="2159" spc="30">
                <a:solidFill>
                  <a:srgbClr val="040506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Presentation and Sharing</a:t>
            </a:r>
          </a:p>
        </p:txBody>
      </p:sp>
      <p:sp>
        <p:nvSpPr>
          <p:cNvPr id="21" name="Freeform 21"/>
          <p:cNvSpPr/>
          <p:nvPr/>
        </p:nvSpPr>
        <p:spPr>
          <a:xfrm>
            <a:off x="11281455" y="7301328"/>
            <a:ext cx="1152117" cy="1466816"/>
          </a:xfrm>
          <a:custGeom>
            <a:avLst/>
            <a:gdLst/>
            <a:ahLst/>
            <a:cxnLst/>
            <a:rect l="l" t="t" r="r" b="b"/>
            <a:pathLst>
              <a:path w="1152117" h="1466816">
                <a:moveTo>
                  <a:pt x="0" y="0"/>
                </a:moveTo>
                <a:lnTo>
                  <a:pt x="1152117" y="0"/>
                </a:lnTo>
                <a:lnTo>
                  <a:pt x="1152117" y="1466816"/>
                </a:lnTo>
                <a:lnTo>
                  <a:pt x="0" y="1466816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22" name="Freeform 22"/>
          <p:cNvSpPr/>
          <p:nvPr/>
        </p:nvSpPr>
        <p:spPr>
          <a:xfrm>
            <a:off x="15042209" y="6038405"/>
            <a:ext cx="1244554" cy="1262924"/>
          </a:xfrm>
          <a:custGeom>
            <a:avLst/>
            <a:gdLst/>
            <a:ahLst/>
            <a:cxnLst/>
            <a:rect l="l" t="t" r="r" b="b"/>
            <a:pathLst>
              <a:path w="1244554" h="1262924">
                <a:moveTo>
                  <a:pt x="0" y="0"/>
                </a:moveTo>
                <a:lnTo>
                  <a:pt x="1244554" y="0"/>
                </a:lnTo>
                <a:lnTo>
                  <a:pt x="1244554" y="1262923"/>
                </a:lnTo>
                <a:lnTo>
                  <a:pt x="0" y="126292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1488144" y="1087437"/>
            <a:ext cx="2578727" cy="1432874"/>
            <a:chOff x="0" y="0"/>
            <a:chExt cx="4159440" cy="231120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4159377" cy="2311146"/>
            </a:xfrm>
            <a:custGeom>
              <a:avLst/>
              <a:gdLst/>
              <a:ahLst/>
              <a:cxnLst/>
              <a:rect l="l" t="t" r="r" b="b"/>
              <a:pathLst>
                <a:path w="4159377" h="2311146">
                  <a:moveTo>
                    <a:pt x="4159377" y="1243076"/>
                  </a:moveTo>
                  <a:cubicBezTo>
                    <a:pt x="3182874" y="1031875"/>
                    <a:pt x="3182874" y="1031875"/>
                    <a:pt x="3182874" y="1031875"/>
                  </a:cubicBezTo>
                  <a:cubicBezTo>
                    <a:pt x="3315462" y="905129"/>
                    <a:pt x="3315462" y="905129"/>
                    <a:pt x="3315462" y="905129"/>
                  </a:cubicBezTo>
                  <a:cubicBezTo>
                    <a:pt x="2959862" y="573278"/>
                    <a:pt x="2489581" y="374142"/>
                    <a:pt x="1965198" y="374142"/>
                  </a:cubicBezTo>
                  <a:cubicBezTo>
                    <a:pt x="886079" y="374142"/>
                    <a:pt x="12065" y="1237107"/>
                    <a:pt x="0" y="2311146"/>
                  </a:cubicBezTo>
                  <a:cubicBezTo>
                    <a:pt x="12065" y="1031875"/>
                    <a:pt x="1054989" y="0"/>
                    <a:pt x="2332863" y="0"/>
                  </a:cubicBezTo>
                  <a:cubicBezTo>
                    <a:pt x="2863342" y="0"/>
                    <a:pt x="3351657" y="175006"/>
                    <a:pt x="3743452" y="476758"/>
                  </a:cubicBezTo>
                  <a:cubicBezTo>
                    <a:pt x="3845941" y="374142"/>
                    <a:pt x="3845941" y="374142"/>
                    <a:pt x="3845941" y="374142"/>
                  </a:cubicBezTo>
                  <a:lnTo>
                    <a:pt x="4159377" y="1243076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5" name="Group 5"/>
          <p:cNvGrpSpPr/>
          <p:nvPr/>
        </p:nvGrpSpPr>
        <p:grpSpPr>
          <a:xfrm>
            <a:off x="112954" y="1808762"/>
            <a:ext cx="2087711" cy="2089050"/>
            <a:chOff x="0" y="0"/>
            <a:chExt cx="3367440" cy="33696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3367405" cy="3369564"/>
            </a:xfrm>
            <a:custGeom>
              <a:avLst/>
              <a:gdLst/>
              <a:ahLst/>
              <a:cxnLst/>
              <a:rect l="l" t="t" r="r" b="b"/>
              <a:pathLst>
                <a:path w="3367405" h="3369564">
                  <a:moveTo>
                    <a:pt x="0" y="1684782"/>
                  </a:moveTo>
                  <a:cubicBezTo>
                    <a:pt x="0" y="754253"/>
                    <a:pt x="753872" y="0"/>
                    <a:pt x="1683766" y="0"/>
                  </a:cubicBezTo>
                  <a:cubicBezTo>
                    <a:pt x="2613660" y="0"/>
                    <a:pt x="3367405" y="754253"/>
                    <a:pt x="3367405" y="1684782"/>
                  </a:cubicBezTo>
                  <a:cubicBezTo>
                    <a:pt x="3367405" y="2615311"/>
                    <a:pt x="2613660" y="3369564"/>
                    <a:pt x="1683766" y="3369564"/>
                  </a:cubicBezTo>
                  <a:cubicBezTo>
                    <a:pt x="753872" y="3369564"/>
                    <a:pt x="0" y="2615311"/>
                    <a:pt x="0" y="1684782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7" name="Group 7"/>
          <p:cNvGrpSpPr/>
          <p:nvPr/>
        </p:nvGrpSpPr>
        <p:grpSpPr>
          <a:xfrm>
            <a:off x="3543273" y="1714500"/>
            <a:ext cx="2088157" cy="2086818"/>
            <a:chOff x="0" y="0"/>
            <a:chExt cx="3368160" cy="33660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3368040" cy="3366008"/>
            </a:xfrm>
            <a:custGeom>
              <a:avLst/>
              <a:gdLst/>
              <a:ahLst/>
              <a:cxnLst/>
              <a:rect l="l" t="t" r="r" b="b"/>
              <a:pathLst>
                <a:path w="3368040" h="3366008">
                  <a:moveTo>
                    <a:pt x="0" y="1683004"/>
                  </a:moveTo>
                  <a:cubicBezTo>
                    <a:pt x="0" y="753491"/>
                    <a:pt x="753999" y="0"/>
                    <a:pt x="1684020" y="0"/>
                  </a:cubicBezTo>
                  <a:cubicBezTo>
                    <a:pt x="2614041" y="0"/>
                    <a:pt x="3368040" y="753491"/>
                    <a:pt x="3368040" y="1683004"/>
                  </a:cubicBezTo>
                  <a:cubicBezTo>
                    <a:pt x="3368040" y="2612517"/>
                    <a:pt x="2614041" y="3366008"/>
                    <a:pt x="1684020" y="3366008"/>
                  </a:cubicBezTo>
                  <a:cubicBezTo>
                    <a:pt x="753999" y="3366008"/>
                    <a:pt x="0" y="2612517"/>
                    <a:pt x="0" y="1683004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9" name="Group 9"/>
          <p:cNvGrpSpPr/>
          <p:nvPr/>
        </p:nvGrpSpPr>
        <p:grpSpPr>
          <a:xfrm>
            <a:off x="3429000" y="2720190"/>
            <a:ext cx="2582745" cy="1431089"/>
            <a:chOff x="0" y="0"/>
            <a:chExt cx="4165920" cy="230832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4165981" cy="2308352"/>
            </a:xfrm>
            <a:custGeom>
              <a:avLst/>
              <a:gdLst/>
              <a:ahLst/>
              <a:cxnLst/>
              <a:rect l="l" t="t" r="r" b="b"/>
              <a:pathLst>
                <a:path w="4165981" h="2308352">
                  <a:moveTo>
                    <a:pt x="4165981" y="1066800"/>
                  </a:moveTo>
                  <a:cubicBezTo>
                    <a:pt x="3189351" y="1271778"/>
                    <a:pt x="3189351" y="1271778"/>
                    <a:pt x="3189351" y="1271778"/>
                  </a:cubicBezTo>
                  <a:cubicBezTo>
                    <a:pt x="3315970" y="1404366"/>
                    <a:pt x="3315970" y="1404366"/>
                    <a:pt x="3315970" y="1404366"/>
                  </a:cubicBezTo>
                  <a:cubicBezTo>
                    <a:pt x="2966339" y="1735836"/>
                    <a:pt x="2489962" y="1934718"/>
                    <a:pt x="1971548" y="1934718"/>
                  </a:cubicBezTo>
                  <a:cubicBezTo>
                    <a:pt x="892302" y="1934591"/>
                    <a:pt x="18034" y="1072769"/>
                    <a:pt x="0" y="0"/>
                  </a:cubicBezTo>
                  <a:cubicBezTo>
                    <a:pt x="18034" y="1277747"/>
                    <a:pt x="1061085" y="2308352"/>
                    <a:pt x="2339213" y="2308352"/>
                  </a:cubicBezTo>
                  <a:cubicBezTo>
                    <a:pt x="2869692" y="2308352"/>
                    <a:pt x="3358134" y="2133600"/>
                    <a:pt x="3749929" y="1832229"/>
                  </a:cubicBezTo>
                  <a:cubicBezTo>
                    <a:pt x="3852418" y="1934718"/>
                    <a:pt x="3852418" y="1934718"/>
                    <a:pt x="3852418" y="1934718"/>
                  </a:cubicBezTo>
                  <a:lnTo>
                    <a:pt x="4165981" y="1066800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1" name="Group 11"/>
          <p:cNvGrpSpPr/>
          <p:nvPr/>
        </p:nvGrpSpPr>
        <p:grpSpPr>
          <a:xfrm>
            <a:off x="6713659" y="3726249"/>
            <a:ext cx="2578727" cy="1432874"/>
            <a:chOff x="0" y="0"/>
            <a:chExt cx="4159440" cy="23112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4159377" cy="2311146"/>
            </a:xfrm>
            <a:custGeom>
              <a:avLst/>
              <a:gdLst/>
              <a:ahLst/>
              <a:cxnLst/>
              <a:rect l="l" t="t" r="r" b="b"/>
              <a:pathLst>
                <a:path w="4159377" h="2311146">
                  <a:moveTo>
                    <a:pt x="4159377" y="1243076"/>
                  </a:moveTo>
                  <a:cubicBezTo>
                    <a:pt x="3182874" y="1031875"/>
                    <a:pt x="3182874" y="1031875"/>
                    <a:pt x="3182874" y="1031875"/>
                  </a:cubicBezTo>
                  <a:cubicBezTo>
                    <a:pt x="3315462" y="905129"/>
                    <a:pt x="3315462" y="905129"/>
                    <a:pt x="3315462" y="905129"/>
                  </a:cubicBezTo>
                  <a:cubicBezTo>
                    <a:pt x="2959862" y="573278"/>
                    <a:pt x="2489581" y="374142"/>
                    <a:pt x="1965198" y="374142"/>
                  </a:cubicBezTo>
                  <a:cubicBezTo>
                    <a:pt x="886079" y="374142"/>
                    <a:pt x="12065" y="1237107"/>
                    <a:pt x="0" y="2311146"/>
                  </a:cubicBezTo>
                  <a:cubicBezTo>
                    <a:pt x="12065" y="1031875"/>
                    <a:pt x="1054989" y="0"/>
                    <a:pt x="2332863" y="0"/>
                  </a:cubicBezTo>
                  <a:cubicBezTo>
                    <a:pt x="2863342" y="0"/>
                    <a:pt x="3351657" y="175006"/>
                    <a:pt x="3743452" y="476758"/>
                  </a:cubicBezTo>
                  <a:cubicBezTo>
                    <a:pt x="3845941" y="374142"/>
                    <a:pt x="3845941" y="374142"/>
                    <a:pt x="3845941" y="374142"/>
                  </a:cubicBezTo>
                  <a:lnTo>
                    <a:pt x="4159377" y="1243076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3" name="Group 13"/>
          <p:cNvGrpSpPr/>
          <p:nvPr/>
        </p:nvGrpSpPr>
        <p:grpSpPr>
          <a:xfrm>
            <a:off x="6814541" y="4125311"/>
            <a:ext cx="2087711" cy="2089050"/>
            <a:chOff x="0" y="0"/>
            <a:chExt cx="3367440" cy="3369600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3367405" cy="3369564"/>
            </a:xfrm>
            <a:custGeom>
              <a:avLst/>
              <a:gdLst/>
              <a:ahLst/>
              <a:cxnLst/>
              <a:rect l="l" t="t" r="r" b="b"/>
              <a:pathLst>
                <a:path w="3367405" h="3369564">
                  <a:moveTo>
                    <a:pt x="0" y="1684782"/>
                  </a:moveTo>
                  <a:cubicBezTo>
                    <a:pt x="0" y="754253"/>
                    <a:pt x="753872" y="0"/>
                    <a:pt x="1683766" y="0"/>
                  </a:cubicBezTo>
                  <a:cubicBezTo>
                    <a:pt x="2613660" y="0"/>
                    <a:pt x="3367405" y="754253"/>
                    <a:pt x="3367405" y="1684782"/>
                  </a:cubicBezTo>
                  <a:cubicBezTo>
                    <a:pt x="3367405" y="2615311"/>
                    <a:pt x="2613660" y="3369564"/>
                    <a:pt x="1683766" y="3369564"/>
                  </a:cubicBezTo>
                  <a:cubicBezTo>
                    <a:pt x="753872" y="3369564"/>
                    <a:pt x="0" y="2615311"/>
                    <a:pt x="0" y="1684782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5" name="Group 15"/>
          <p:cNvGrpSpPr/>
          <p:nvPr/>
        </p:nvGrpSpPr>
        <p:grpSpPr>
          <a:xfrm>
            <a:off x="9288369" y="4123972"/>
            <a:ext cx="2088157" cy="2086818"/>
            <a:chOff x="0" y="0"/>
            <a:chExt cx="3368160" cy="336600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3368040" cy="3366008"/>
            </a:xfrm>
            <a:custGeom>
              <a:avLst/>
              <a:gdLst/>
              <a:ahLst/>
              <a:cxnLst/>
              <a:rect l="l" t="t" r="r" b="b"/>
              <a:pathLst>
                <a:path w="3368040" h="3366008">
                  <a:moveTo>
                    <a:pt x="0" y="1683004"/>
                  </a:moveTo>
                  <a:cubicBezTo>
                    <a:pt x="0" y="753491"/>
                    <a:pt x="753999" y="0"/>
                    <a:pt x="1684020" y="0"/>
                  </a:cubicBezTo>
                  <a:cubicBezTo>
                    <a:pt x="2614041" y="0"/>
                    <a:pt x="3368040" y="753491"/>
                    <a:pt x="3368040" y="1683004"/>
                  </a:cubicBezTo>
                  <a:cubicBezTo>
                    <a:pt x="3368040" y="2612517"/>
                    <a:pt x="2614041" y="3366008"/>
                    <a:pt x="1684020" y="3366008"/>
                  </a:cubicBezTo>
                  <a:cubicBezTo>
                    <a:pt x="753999" y="3366008"/>
                    <a:pt x="0" y="2612517"/>
                    <a:pt x="0" y="1683004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7" name="Group 17"/>
          <p:cNvGrpSpPr/>
          <p:nvPr/>
        </p:nvGrpSpPr>
        <p:grpSpPr>
          <a:xfrm>
            <a:off x="9174096" y="5129662"/>
            <a:ext cx="2582745" cy="1431089"/>
            <a:chOff x="0" y="0"/>
            <a:chExt cx="4165920" cy="2308320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4165981" cy="2308352"/>
            </a:xfrm>
            <a:custGeom>
              <a:avLst/>
              <a:gdLst/>
              <a:ahLst/>
              <a:cxnLst/>
              <a:rect l="l" t="t" r="r" b="b"/>
              <a:pathLst>
                <a:path w="4165981" h="2308352">
                  <a:moveTo>
                    <a:pt x="4165981" y="1066800"/>
                  </a:moveTo>
                  <a:cubicBezTo>
                    <a:pt x="3189351" y="1271778"/>
                    <a:pt x="3189351" y="1271778"/>
                    <a:pt x="3189351" y="1271778"/>
                  </a:cubicBezTo>
                  <a:cubicBezTo>
                    <a:pt x="3315970" y="1404366"/>
                    <a:pt x="3315970" y="1404366"/>
                    <a:pt x="3315970" y="1404366"/>
                  </a:cubicBezTo>
                  <a:cubicBezTo>
                    <a:pt x="2966339" y="1735836"/>
                    <a:pt x="2489962" y="1934718"/>
                    <a:pt x="1971548" y="1934718"/>
                  </a:cubicBezTo>
                  <a:cubicBezTo>
                    <a:pt x="892302" y="1934591"/>
                    <a:pt x="18034" y="1072769"/>
                    <a:pt x="0" y="0"/>
                  </a:cubicBezTo>
                  <a:cubicBezTo>
                    <a:pt x="18034" y="1277747"/>
                    <a:pt x="1061085" y="2308352"/>
                    <a:pt x="2339213" y="2308352"/>
                  </a:cubicBezTo>
                  <a:cubicBezTo>
                    <a:pt x="2869692" y="2308352"/>
                    <a:pt x="3358134" y="2133600"/>
                    <a:pt x="3749929" y="1832229"/>
                  </a:cubicBezTo>
                  <a:cubicBezTo>
                    <a:pt x="3852418" y="1934718"/>
                    <a:pt x="3852418" y="1934718"/>
                    <a:pt x="3852418" y="1934718"/>
                  </a:cubicBezTo>
                  <a:lnTo>
                    <a:pt x="4165981" y="1066800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9" name="Group 19"/>
          <p:cNvGrpSpPr/>
          <p:nvPr/>
        </p:nvGrpSpPr>
        <p:grpSpPr>
          <a:xfrm>
            <a:off x="12014016" y="3722678"/>
            <a:ext cx="2578727" cy="1432874"/>
            <a:chOff x="0" y="0"/>
            <a:chExt cx="4159440" cy="2311200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4159377" cy="2311146"/>
            </a:xfrm>
            <a:custGeom>
              <a:avLst/>
              <a:gdLst/>
              <a:ahLst/>
              <a:cxnLst/>
              <a:rect l="l" t="t" r="r" b="b"/>
              <a:pathLst>
                <a:path w="4159377" h="2311146">
                  <a:moveTo>
                    <a:pt x="4159377" y="1243076"/>
                  </a:moveTo>
                  <a:cubicBezTo>
                    <a:pt x="3182874" y="1031875"/>
                    <a:pt x="3182874" y="1031875"/>
                    <a:pt x="3182874" y="1031875"/>
                  </a:cubicBezTo>
                  <a:cubicBezTo>
                    <a:pt x="3315462" y="905129"/>
                    <a:pt x="3315462" y="905129"/>
                    <a:pt x="3315462" y="905129"/>
                  </a:cubicBezTo>
                  <a:cubicBezTo>
                    <a:pt x="2959862" y="573278"/>
                    <a:pt x="2489581" y="374142"/>
                    <a:pt x="1965198" y="374142"/>
                  </a:cubicBezTo>
                  <a:cubicBezTo>
                    <a:pt x="886079" y="374142"/>
                    <a:pt x="12065" y="1237107"/>
                    <a:pt x="0" y="2311146"/>
                  </a:cubicBezTo>
                  <a:cubicBezTo>
                    <a:pt x="12065" y="1031875"/>
                    <a:pt x="1054989" y="0"/>
                    <a:pt x="2332863" y="0"/>
                  </a:cubicBezTo>
                  <a:cubicBezTo>
                    <a:pt x="2863342" y="0"/>
                    <a:pt x="3351657" y="175006"/>
                    <a:pt x="3743452" y="476758"/>
                  </a:cubicBezTo>
                  <a:cubicBezTo>
                    <a:pt x="3845941" y="374142"/>
                    <a:pt x="3845941" y="374142"/>
                    <a:pt x="3845941" y="374142"/>
                  </a:cubicBezTo>
                  <a:lnTo>
                    <a:pt x="4159377" y="1243076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21" name="Group 21"/>
          <p:cNvGrpSpPr/>
          <p:nvPr/>
        </p:nvGrpSpPr>
        <p:grpSpPr>
          <a:xfrm>
            <a:off x="12114897" y="4121740"/>
            <a:ext cx="2087711" cy="2089050"/>
            <a:chOff x="0" y="0"/>
            <a:chExt cx="3367440" cy="3369600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3367405" cy="3369564"/>
            </a:xfrm>
            <a:custGeom>
              <a:avLst/>
              <a:gdLst/>
              <a:ahLst/>
              <a:cxnLst/>
              <a:rect l="l" t="t" r="r" b="b"/>
              <a:pathLst>
                <a:path w="3367405" h="3369564">
                  <a:moveTo>
                    <a:pt x="0" y="1684782"/>
                  </a:moveTo>
                  <a:cubicBezTo>
                    <a:pt x="0" y="754253"/>
                    <a:pt x="753872" y="0"/>
                    <a:pt x="1683766" y="0"/>
                  </a:cubicBezTo>
                  <a:cubicBezTo>
                    <a:pt x="2613660" y="0"/>
                    <a:pt x="3367405" y="754253"/>
                    <a:pt x="3367405" y="1684782"/>
                  </a:cubicBezTo>
                  <a:cubicBezTo>
                    <a:pt x="3367405" y="2615311"/>
                    <a:pt x="2613660" y="3369564"/>
                    <a:pt x="1683766" y="3369564"/>
                  </a:cubicBezTo>
                  <a:cubicBezTo>
                    <a:pt x="753872" y="3369564"/>
                    <a:pt x="0" y="2615311"/>
                    <a:pt x="0" y="1684782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23" name="Group 23"/>
          <p:cNvGrpSpPr/>
          <p:nvPr/>
        </p:nvGrpSpPr>
        <p:grpSpPr>
          <a:xfrm>
            <a:off x="14588726" y="4120401"/>
            <a:ext cx="2088157" cy="2086818"/>
            <a:chOff x="0" y="0"/>
            <a:chExt cx="3368160" cy="3366000"/>
          </a:xfrm>
        </p:grpSpPr>
        <p:sp>
          <p:nvSpPr>
            <p:cNvPr id="24" name="Freeform 24"/>
            <p:cNvSpPr/>
            <p:nvPr/>
          </p:nvSpPr>
          <p:spPr>
            <a:xfrm>
              <a:off x="0" y="0"/>
              <a:ext cx="3368040" cy="3366008"/>
            </a:xfrm>
            <a:custGeom>
              <a:avLst/>
              <a:gdLst/>
              <a:ahLst/>
              <a:cxnLst/>
              <a:rect l="l" t="t" r="r" b="b"/>
              <a:pathLst>
                <a:path w="3368040" h="3366008">
                  <a:moveTo>
                    <a:pt x="0" y="1683004"/>
                  </a:moveTo>
                  <a:cubicBezTo>
                    <a:pt x="0" y="753491"/>
                    <a:pt x="753999" y="0"/>
                    <a:pt x="1684020" y="0"/>
                  </a:cubicBezTo>
                  <a:cubicBezTo>
                    <a:pt x="2614041" y="0"/>
                    <a:pt x="3368040" y="753491"/>
                    <a:pt x="3368040" y="1683004"/>
                  </a:cubicBezTo>
                  <a:cubicBezTo>
                    <a:pt x="3368040" y="2612517"/>
                    <a:pt x="2614041" y="3366008"/>
                    <a:pt x="1684020" y="3366008"/>
                  </a:cubicBezTo>
                  <a:cubicBezTo>
                    <a:pt x="753999" y="3366008"/>
                    <a:pt x="0" y="2612517"/>
                    <a:pt x="0" y="1683004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sp>
        <p:nvSpPr>
          <p:cNvPr id="25" name="Freeform 25"/>
          <p:cNvSpPr/>
          <p:nvPr/>
        </p:nvSpPr>
        <p:spPr>
          <a:xfrm>
            <a:off x="668281" y="2289891"/>
            <a:ext cx="977057" cy="1121882"/>
          </a:xfrm>
          <a:custGeom>
            <a:avLst/>
            <a:gdLst/>
            <a:ahLst/>
            <a:cxnLst/>
            <a:rect l="l" t="t" r="r" b="b"/>
            <a:pathLst>
              <a:path w="977057" h="1121882">
                <a:moveTo>
                  <a:pt x="0" y="0"/>
                </a:moveTo>
                <a:lnTo>
                  <a:pt x="977057" y="0"/>
                </a:lnTo>
                <a:lnTo>
                  <a:pt x="977057" y="1121882"/>
                </a:lnTo>
                <a:lnTo>
                  <a:pt x="0" y="112188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26" name="Freeform 26"/>
          <p:cNvSpPr/>
          <p:nvPr/>
        </p:nvSpPr>
        <p:spPr>
          <a:xfrm>
            <a:off x="4122949" y="2335885"/>
            <a:ext cx="928806" cy="896720"/>
          </a:xfrm>
          <a:custGeom>
            <a:avLst/>
            <a:gdLst/>
            <a:ahLst/>
            <a:cxnLst/>
            <a:rect l="l" t="t" r="r" b="b"/>
            <a:pathLst>
              <a:path w="928806" h="896720">
                <a:moveTo>
                  <a:pt x="0" y="0"/>
                </a:moveTo>
                <a:lnTo>
                  <a:pt x="928805" y="0"/>
                </a:lnTo>
                <a:lnTo>
                  <a:pt x="928805" y="896720"/>
                </a:lnTo>
                <a:lnTo>
                  <a:pt x="0" y="89672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27" name="Freeform 27"/>
          <p:cNvSpPr/>
          <p:nvPr/>
        </p:nvSpPr>
        <p:spPr>
          <a:xfrm>
            <a:off x="12661056" y="4741787"/>
            <a:ext cx="995393" cy="955577"/>
          </a:xfrm>
          <a:custGeom>
            <a:avLst/>
            <a:gdLst/>
            <a:ahLst/>
            <a:cxnLst/>
            <a:rect l="l" t="t" r="r" b="b"/>
            <a:pathLst>
              <a:path w="995393" h="955577">
                <a:moveTo>
                  <a:pt x="0" y="0"/>
                </a:moveTo>
                <a:lnTo>
                  <a:pt x="995394" y="0"/>
                </a:lnTo>
                <a:lnTo>
                  <a:pt x="995394" y="955577"/>
                </a:lnTo>
                <a:lnTo>
                  <a:pt x="0" y="955577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28" name="Freeform 28"/>
          <p:cNvSpPr/>
          <p:nvPr/>
        </p:nvSpPr>
        <p:spPr>
          <a:xfrm>
            <a:off x="9863887" y="4719021"/>
            <a:ext cx="1114987" cy="952807"/>
          </a:xfrm>
          <a:custGeom>
            <a:avLst/>
            <a:gdLst/>
            <a:ahLst/>
            <a:cxnLst/>
            <a:rect l="l" t="t" r="r" b="b"/>
            <a:pathLst>
              <a:path w="1114987" h="952807">
                <a:moveTo>
                  <a:pt x="0" y="0"/>
                </a:moveTo>
                <a:lnTo>
                  <a:pt x="1114987" y="0"/>
                </a:lnTo>
                <a:lnTo>
                  <a:pt x="1114987" y="952808"/>
                </a:lnTo>
                <a:lnTo>
                  <a:pt x="0" y="952808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29" name="Freeform 29"/>
          <p:cNvSpPr/>
          <p:nvPr/>
        </p:nvSpPr>
        <p:spPr>
          <a:xfrm>
            <a:off x="7418509" y="4719021"/>
            <a:ext cx="831541" cy="952807"/>
          </a:xfrm>
          <a:custGeom>
            <a:avLst/>
            <a:gdLst/>
            <a:ahLst/>
            <a:cxnLst/>
            <a:rect l="l" t="t" r="r" b="b"/>
            <a:pathLst>
              <a:path w="831541" h="952807">
                <a:moveTo>
                  <a:pt x="0" y="0"/>
                </a:moveTo>
                <a:lnTo>
                  <a:pt x="831541" y="0"/>
                </a:lnTo>
                <a:lnTo>
                  <a:pt x="831541" y="952808"/>
                </a:lnTo>
                <a:lnTo>
                  <a:pt x="0" y="952808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</p:sp>
      <p:sp>
        <p:nvSpPr>
          <p:cNvPr id="30" name="Freeform 30"/>
          <p:cNvSpPr/>
          <p:nvPr/>
        </p:nvSpPr>
        <p:spPr>
          <a:xfrm>
            <a:off x="15164243" y="4675888"/>
            <a:ext cx="926844" cy="1084604"/>
          </a:xfrm>
          <a:custGeom>
            <a:avLst/>
            <a:gdLst/>
            <a:ahLst/>
            <a:cxnLst/>
            <a:rect l="l" t="t" r="r" b="b"/>
            <a:pathLst>
              <a:path w="926844" h="1084604">
                <a:moveTo>
                  <a:pt x="0" y="0"/>
                </a:moveTo>
                <a:lnTo>
                  <a:pt x="926844" y="0"/>
                </a:lnTo>
                <a:lnTo>
                  <a:pt x="926844" y="1084604"/>
                </a:lnTo>
                <a:lnTo>
                  <a:pt x="0" y="1084604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</p:sp>
      <p:sp>
        <p:nvSpPr>
          <p:cNvPr id="31" name="TextBox 31"/>
          <p:cNvSpPr txBox="1"/>
          <p:nvPr/>
        </p:nvSpPr>
        <p:spPr>
          <a:xfrm>
            <a:off x="1324041" y="7065478"/>
            <a:ext cx="2467998" cy="16641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86"/>
              </a:lnSpc>
            </a:pPr>
            <a:r>
              <a:rPr lang="en-US" sz="1367" spc="133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1584828" y="6496315"/>
            <a:ext cx="1986653" cy="4262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91"/>
              </a:lnSpc>
            </a:pPr>
            <a:r>
              <a:rPr lang="en-US" sz="2602" spc="36">
                <a:solidFill>
                  <a:srgbClr val="040506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January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13839770" y="1210039"/>
            <a:ext cx="2467998" cy="16641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86"/>
              </a:lnSpc>
            </a:pP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met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onsectetur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dipiscing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lit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 Duis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vulputate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nulla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at ante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honcus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vel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fficitur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felis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ondimentum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 Proin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dio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dio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12571636" y="647700"/>
            <a:ext cx="1986653" cy="4262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91"/>
              </a:lnSpc>
            </a:pPr>
            <a:r>
              <a:rPr lang="en-US" sz="2602" spc="36" dirty="0">
                <a:solidFill>
                  <a:srgbClr val="040506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February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6624397" y="7065478"/>
            <a:ext cx="2467998" cy="16641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86"/>
              </a:lnSpc>
            </a:pPr>
            <a:r>
              <a:rPr lang="en-US" sz="1367" spc="133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6885185" y="6496315"/>
            <a:ext cx="1986653" cy="4262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91"/>
              </a:lnSpc>
            </a:pPr>
            <a:r>
              <a:rPr lang="en-US" sz="2602" spc="36">
                <a:solidFill>
                  <a:srgbClr val="040506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March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9098449" y="1997667"/>
            <a:ext cx="2467998" cy="16641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86"/>
              </a:lnSpc>
            </a:pP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met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onsectetur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dipiscing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lit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 Duis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vulputate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nulla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at ante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honcus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vel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fficitur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felis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ondimentum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 Proin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dio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367" spc="133" dirty="0" err="1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dio</a:t>
            </a:r>
            <a:r>
              <a:rPr lang="en-US" sz="1367" spc="133" dirty="0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9359236" y="1428503"/>
            <a:ext cx="1986653" cy="4262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91"/>
              </a:lnSpc>
            </a:pPr>
            <a:r>
              <a:rPr lang="en-US" sz="2602" spc="36">
                <a:solidFill>
                  <a:srgbClr val="040506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April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12027963" y="7091814"/>
            <a:ext cx="2467998" cy="16641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86"/>
              </a:lnSpc>
            </a:pPr>
            <a:r>
              <a:rPr lang="en-US" sz="1367" spc="133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12288751" y="6522651"/>
            <a:ext cx="1986653" cy="4262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91"/>
              </a:lnSpc>
            </a:pPr>
            <a:r>
              <a:rPr lang="en-US" sz="2602" spc="36">
                <a:solidFill>
                  <a:srgbClr val="040506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May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14495961" y="1997667"/>
            <a:ext cx="2467998" cy="16641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86"/>
              </a:lnSpc>
            </a:pPr>
            <a:r>
              <a:rPr lang="en-US" sz="1367" spc="133">
                <a:solidFill>
                  <a:srgbClr val="040506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14756749" y="1428503"/>
            <a:ext cx="1986653" cy="4262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91"/>
              </a:lnSpc>
            </a:pPr>
            <a:r>
              <a:rPr lang="en-US" sz="2602" spc="36">
                <a:solidFill>
                  <a:srgbClr val="040506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July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</p:sp>
      <p:sp>
        <p:nvSpPr>
          <p:cNvPr id="3" name="Freeform 3"/>
          <p:cNvSpPr/>
          <p:nvPr/>
        </p:nvSpPr>
        <p:spPr>
          <a:xfrm rot="1844104">
            <a:off x="6380559" y="2491180"/>
            <a:ext cx="13471756" cy="1426670"/>
          </a:xfrm>
          <a:custGeom>
            <a:avLst/>
            <a:gdLst/>
            <a:ahLst/>
            <a:cxnLst/>
            <a:rect l="l" t="t" r="r" b="b"/>
            <a:pathLst>
              <a:path w="13471756" h="1426670">
                <a:moveTo>
                  <a:pt x="0" y="0"/>
                </a:moveTo>
                <a:lnTo>
                  <a:pt x="13471756" y="0"/>
                </a:lnTo>
                <a:lnTo>
                  <a:pt x="13471756" y="1426671"/>
                </a:lnTo>
                <a:lnTo>
                  <a:pt x="0" y="142667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86495"/>
            </a:stretch>
          </a:blipFill>
        </p:spPr>
      </p: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7613275" y="0"/>
            <a:ext cx="10674725" cy="6004533"/>
            <a:chOff x="0" y="0"/>
            <a:chExt cx="6089457" cy="342532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6089457" cy="3425320"/>
            </a:xfrm>
            <a:custGeom>
              <a:avLst/>
              <a:gdLst/>
              <a:ahLst/>
              <a:cxnLst/>
              <a:rect l="l" t="t" r="r" b="b"/>
              <a:pathLst>
                <a:path w="6089457" h="3425320">
                  <a:moveTo>
                    <a:pt x="6089457" y="3425320"/>
                  </a:moveTo>
                  <a:lnTo>
                    <a:pt x="6089457" y="0"/>
                  </a:lnTo>
                  <a:lnTo>
                    <a:pt x="0" y="0"/>
                  </a:lnTo>
                  <a:cubicBezTo>
                    <a:pt x="2029819" y="1141773"/>
                    <a:pt x="4059638" y="2283546"/>
                    <a:pt x="6089457" y="3425320"/>
                  </a:cubicBezTo>
                  <a:close/>
                </a:path>
              </a:pathLst>
            </a:custGeom>
            <a:solidFill>
              <a:srgbClr val="539BE0"/>
            </a:solidFill>
          </p:spPr>
        </p:sp>
        <p:sp>
          <p:nvSpPr>
            <p:cNvPr id="6" name="Freeform 6"/>
            <p:cNvSpPr/>
            <p:nvPr/>
          </p:nvSpPr>
          <p:spPr>
            <a:xfrm>
              <a:off x="0" y="0"/>
              <a:ext cx="6089457" cy="3425320"/>
            </a:xfrm>
            <a:custGeom>
              <a:avLst/>
              <a:gdLst/>
              <a:ahLst/>
              <a:cxnLst/>
              <a:rect l="l" t="t" r="r" b="b"/>
              <a:pathLst>
                <a:path w="6089457" h="3425320">
                  <a:moveTo>
                    <a:pt x="6089457" y="3425320"/>
                  </a:moveTo>
                  <a:lnTo>
                    <a:pt x="6089457" y="0"/>
                  </a:lnTo>
                  <a:lnTo>
                    <a:pt x="0" y="0"/>
                  </a:lnTo>
                  <a:cubicBezTo>
                    <a:pt x="2029819" y="1141773"/>
                    <a:pt x="4059638" y="2283546"/>
                    <a:pt x="6089457" y="3425320"/>
                  </a:cubicBezTo>
                  <a:close/>
                </a:path>
              </a:pathLst>
            </a:custGeom>
            <a:blipFill>
              <a:blip r:embed="rId4"/>
              <a:stretch>
                <a:fillRect t="-9259" b="-9259"/>
              </a:stretch>
            </a:blipFill>
          </p:spPr>
        </p:sp>
      </p:grpSp>
      <p:grpSp>
        <p:nvGrpSpPr>
          <p:cNvPr id="7" name="Group 7"/>
          <p:cNvGrpSpPr/>
          <p:nvPr/>
        </p:nvGrpSpPr>
        <p:grpSpPr>
          <a:xfrm>
            <a:off x="2300775" y="3360469"/>
            <a:ext cx="6331281" cy="1563793"/>
            <a:chOff x="0" y="0"/>
            <a:chExt cx="2161091" cy="533778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161091" cy="533778"/>
            </a:xfrm>
            <a:custGeom>
              <a:avLst/>
              <a:gdLst/>
              <a:ahLst/>
              <a:cxnLst/>
              <a:rect l="l" t="t" r="r" b="b"/>
              <a:pathLst>
                <a:path w="2161091" h="533778">
                  <a:moveTo>
                    <a:pt x="13451" y="0"/>
                  </a:moveTo>
                  <a:lnTo>
                    <a:pt x="2147640" y="0"/>
                  </a:lnTo>
                  <a:cubicBezTo>
                    <a:pt x="2151207" y="0"/>
                    <a:pt x="2154629" y="1417"/>
                    <a:pt x="2157151" y="3940"/>
                  </a:cubicBezTo>
                  <a:cubicBezTo>
                    <a:pt x="2159674" y="6462"/>
                    <a:pt x="2161091" y="9883"/>
                    <a:pt x="2161091" y="13451"/>
                  </a:cubicBezTo>
                  <a:lnTo>
                    <a:pt x="2161091" y="520327"/>
                  </a:lnTo>
                  <a:cubicBezTo>
                    <a:pt x="2161091" y="527756"/>
                    <a:pt x="2155069" y="533778"/>
                    <a:pt x="2147640" y="533778"/>
                  </a:cubicBezTo>
                  <a:lnTo>
                    <a:pt x="13451" y="533778"/>
                  </a:lnTo>
                  <a:cubicBezTo>
                    <a:pt x="6022" y="533778"/>
                    <a:pt x="0" y="527756"/>
                    <a:pt x="0" y="520327"/>
                  </a:cubicBezTo>
                  <a:lnTo>
                    <a:pt x="0" y="13451"/>
                  </a:lnTo>
                  <a:cubicBezTo>
                    <a:pt x="0" y="6022"/>
                    <a:pt x="6022" y="0"/>
                    <a:pt x="13451" y="0"/>
                  </a:cubicBezTo>
                  <a:close/>
                </a:path>
              </a:pathLst>
            </a:custGeom>
            <a:solidFill>
              <a:srgbClr val="131211"/>
            </a:solidFill>
          </p:spPr>
        </p:sp>
        <p:sp>
          <p:nvSpPr>
            <p:cNvPr id="9" name="TextBox 9"/>
            <p:cNvSpPr txBox="1"/>
            <p:nvPr/>
          </p:nvSpPr>
          <p:spPr>
            <a:xfrm>
              <a:off x="0" y="-19050"/>
              <a:ext cx="2161091" cy="552828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sp>
        <p:nvSpPr>
          <p:cNvPr id="10" name="TextBox 10"/>
          <p:cNvSpPr txBox="1"/>
          <p:nvPr/>
        </p:nvSpPr>
        <p:spPr>
          <a:xfrm>
            <a:off x="2300775" y="1158585"/>
            <a:ext cx="7238899" cy="171479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6842"/>
              </a:lnSpc>
              <a:spcBef>
                <a:spcPct val="0"/>
              </a:spcBef>
            </a:pPr>
            <a:r>
              <a:rPr lang="en-US" sz="4958" u="none" strike="noStrike" spc="173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CONCEPT IN BUSINESS</a:t>
            </a:r>
          </a:p>
        </p:txBody>
      </p:sp>
      <p:grpSp>
        <p:nvGrpSpPr>
          <p:cNvPr id="11" name="Group 11"/>
          <p:cNvGrpSpPr/>
          <p:nvPr/>
        </p:nvGrpSpPr>
        <p:grpSpPr>
          <a:xfrm>
            <a:off x="7535860" y="3119178"/>
            <a:ext cx="2381235" cy="2046374"/>
            <a:chOff x="0" y="0"/>
            <a:chExt cx="812800" cy="6985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solidFill>
              <a:srgbClr val="FFFFFF"/>
            </a:solidFill>
            <a:ln w="161925" cap="sq">
              <a:solidFill>
                <a:srgbClr val="000000"/>
              </a:solidFill>
              <a:prstDash val="solid"/>
              <a:miter/>
            </a:ln>
          </p:spPr>
        </p:sp>
        <p:sp>
          <p:nvSpPr>
            <p:cNvPr id="13" name="TextBox 13"/>
            <p:cNvSpPr txBox="1"/>
            <p:nvPr/>
          </p:nvSpPr>
          <p:spPr>
            <a:xfrm>
              <a:off x="114300" y="-19050"/>
              <a:ext cx="584200" cy="7175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sp>
        <p:nvSpPr>
          <p:cNvPr id="14" name="TextBox 14"/>
          <p:cNvSpPr txBox="1"/>
          <p:nvPr/>
        </p:nvSpPr>
        <p:spPr>
          <a:xfrm>
            <a:off x="2585027" y="3559527"/>
            <a:ext cx="4950833" cy="10972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187"/>
              </a:lnSpc>
            </a:pPr>
            <a:r>
              <a:rPr lang="en-US" sz="1585" spc="155">
                <a:solidFill>
                  <a:srgbClr val="F2F4F5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grpSp>
        <p:nvGrpSpPr>
          <p:cNvPr id="15" name="Group 15"/>
          <p:cNvGrpSpPr/>
          <p:nvPr/>
        </p:nvGrpSpPr>
        <p:grpSpPr>
          <a:xfrm>
            <a:off x="7191171" y="5406843"/>
            <a:ext cx="6331281" cy="1563793"/>
            <a:chOff x="0" y="0"/>
            <a:chExt cx="2161091" cy="533778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2161091" cy="533778"/>
            </a:xfrm>
            <a:custGeom>
              <a:avLst/>
              <a:gdLst/>
              <a:ahLst/>
              <a:cxnLst/>
              <a:rect l="l" t="t" r="r" b="b"/>
              <a:pathLst>
                <a:path w="2161091" h="533778">
                  <a:moveTo>
                    <a:pt x="13451" y="0"/>
                  </a:moveTo>
                  <a:lnTo>
                    <a:pt x="2147640" y="0"/>
                  </a:lnTo>
                  <a:cubicBezTo>
                    <a:pt x="2151207" y="0"/>
                    <a:pt x="2154629" y="1417"/>
                    <a:pt x="2157151" y="3940"/>
                  </a:cubicBezTo>
                  <a:cubicBezTo>
                    <a:pt x="2159674" y="6462"/>
                    <a:pt x="2161091" y="9883"/>
                    <a:pt x="2161091" y="13451"/>
                  </a:cubicBezTo>
                  <a:lnTo>
                    <a:pt x="2161091" y="520327"/>
                  </a:lnTo>
                  <a:cubicBezTo>
                    <a:pt x="2161091" y="527756"/>
                    <a:pt x="2155069" y="533778"/>
                    <a:pt x="2147640" y="533778"/>
                  </a:cubicBezTo>
                  <a:lnTo>
                    <a:pt x="13451" y="533778"/>
                  </a:lnTo>
                  <a:cubicBezTo>
                    <a:pt x="6022" y="533778"/>
                    <a:pt x="0" y="527756"/>
                    <a:pt x="0" y="520327"/>
                  </a:cubicBezTo>
                  <a:lnTo>
                    <a:pt x="0" y="13451"/>
                  </a:lnTo>
                  <a:cubicBezTo>
                    <a:pt x="0" y="6022"/>
                    <a:pt x="6022" y="0"/>
                    <a:pt x="13451" y="0"/>
                  </a:cubicBezTo>
                  <a:close/>
                </a:path>
              </a:pathLst>
            </a:custGeom>
            <a:solidFill>
              <a:srgbClr val="131211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19050"/>
              <a:ext cx="2161091" cy="552828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6033010" y="5165552"/>
            <a:ext cx="2381235" cy="2046374"/>
            <a:chOff x="0" y="0"/>
            <a:chExt cx="812800" cy="6985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solidFill>
              <a:srgbClr val="FFFFFF"/>
            </a:solidFill>
            <a:ln w="161925" cap="sq">
              <a:solidFill>
                <a:srgbClr val="000000"/>
              </a:solidFill>
              <a:prstDash val="solid"/>
              <a:miter/>
            </a:ln>
          </p:spPr>
        </p:sp>
        <p:sp>
          <p:nvSpPr>
            <p:cNvPr id="20" name="TextBox 20"/>
            <p:cNvSpPr txBox="1"/>
            <p:nvPr/>
          </p:nvSpPr>
          <p:spPr>
            <a:xfrm>
              <a:off x="114300" y="-19050"/>
              <a:ext cx="584200" cy="7175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sp>
        <p:nvSpPr>
          <p:cNvPr id="21" name="TextBox 21"/>
          <p:cNvSpPr txBox="1"/>
          <p:nvPr/>
        </p:nvSpPr>
        <p:spPr>
          <a:xfrm>
            <a:off x="8316248" y="5605901"/>
            <a:ext cx="4950833" cy="10972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187"/>
              </a:lnSpc>
            </a:pPr>
            <a:r>
              <a:rPr lang="en-US" sz="1585" spc="155">
                <a:solidFill>
                  <a:srgbClr val="F2F4F5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grpSp>
        <p:nvGrpSpPr>
          <p:cNvPr id="22" name="Group 22"/>
          <p:cNvGrpSpPr/>
          <p:nvPr/>
        </p:nvGrpSpPr>
        <p:grpSpPr>
          <a:xfrm>
            <a:off x="2300775" y="7453217"/>
            <a:ext cx="6331281" cy="1563793"/>
            <a:chOff x="0" y="0"/>
            <a:chExt cx="2161091" cy="533778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2161091" cy="533778"/>
            </a:xfrm>
            <a:custGeom>
              <a:avLst/>
              <a:gdLst/>
              <a:ahLst/>
              <a:cxnLst/>
              <a:rect l="l" t="t" r="r" b="b"/>
              <a:pathLst>
                <a:path w="2161091" h="533778">
                  <a:moveTo>
                    <a:pt x="13451" y="0"/>
                  </a:moveTo>
                  <a:lnTo>
                    <a:pt x="2147640" y="0"/>
                  </a:lnTo>
                  <a:cubicBezTo>
                    <a:pt x="2151207" y="0"/>
                    <a:pt x="2154629" y="1417"/>
                    <a:pt x="2157151" y="3940"/>
                  </a:cubicBezTo>
                  <a:cubicBezTo>
                    <a:pt x="2159674" y="6462"/>
                    <a:pt x="2161091" y="9883"/>
                    <a:pt x="2161091" y="13451"/>
                  </a:cubicBezTo>
                  <a:lnTo>
                    <a:pt x="2161091" y="520327"/>
                  </a:lnTo>
                  <a:cubicBezTo>
                    <a:pt x="2161091" y="527756"/>
                    <a:pt x="2155069" y="533778"/>
                    <a:pt x="2147640" y="533778"/>
                  </a:cubicBezTo>
                  <a:lnTo>
                    <a:pt x="13451" y="533778"/>
                  </a:lnTo>
                  <a:cubicBezTo>
                    <a:pt x="6022" y="533778"/>
                    <a:pt x="0" y="527756"/>
                    <a:pt x="0" y="520327"/>
                  </a:cubicBezTo>
                  <a:lnTo>
                    <a:pt x="0" y="13451"/>
                  </a:lnTo>
                  <a:cubicBezTo>
                    <a:pt x="0" y="6022"/>
                    <a:pt x="6022" y="0"/>
                    <a:pt x="13451" y="0"/>
                  </a:cubicBezTo>
                  <a:close/>
                </a:path>
              </a:pathLst>
            </a:custGeom>
            <a:solidFill>
              <a:srgbClr val="131211"/>
            </a:solidFill>
          </p:spPr>
        </p:sp>
        <p:sp>
          <p:nvSpPr>
            <p:cNvPr id="24" name="TextBox 24"/>
            <p:cNvSpPr txBox="1"/>
            <p:nvPr/>
          </p:nvSpPr>
          <p:spPr>
            <a:xfrm>
              <a:off x="0" y="-19050"/>
              <a:ext cx="2161091" cy="552828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25" name="Group 25"/>
          <p:cNvGrpSpPr/>
          <p:nvPr/>
        </p:nvGrpSpPr>
        <p:grpSpPr>
          <a:xfrm>
            <a:off x="7535860" y="7211926"/>
            <a:ext cx="2381235" cy="2046374"/>
            <a:chOff x="0" y="0"/>
            <a:chExt cx="812800" cy="698500"/>
          </a:xfrm>
        </p:grpSpPr>
        <p:sp>
          <p:nvSpPr>
            <p:cNvPr id="26" name="Freeform 26"/>
            <p:cNvSpPr/>
            <p:nvPr/>
          </p:nvSpPr>
          <p:spPr>
            <a:xfrm>
              <a:off x="0" y="0"/>
              <a:ext cx="812800" cy="698500"/>
            </a:xfrm>
            <a:custGeom>
              <a:avLst/>
              <a:gdLst/>
              <a:ahLst/>
              <a:cxnLst/>
              <a:rect l="l" t="t" r="r" b="b"/>
              <a:pathLst>
                <a:path w="812800" h="698500">
                  <a:moveTo>
                    <a:pt x="812800" y="349250"/>
                  </a:moveTo>
                  <a:lnTo>
                    <a:pt x="609600" y="698500"/>
                  </a:lnTo>
                  <a:lnTo>
                    <a:pt x="203200" y="698500"/>
                  </a:lnTo>
                  <a:lnTo>
                    <a:pt x="0" y="349250"/>
                  </a:lnTo>
                  <a:lnTo>
                    <a:pt x="203200" y="0"/>
                  </a:lnTo>
                  <a:lnTo>
                    <a:pt x="609600" y="0"/>
                  </a:lnTo>
                  <a:lnTo>
                    <a:pt x="812800" y="349250"/>
                  </a:lnTo>
                  <a:close/>
                </a:path>
              </a:pathLst>
            </a:custGeom>
            <a:solidFill>
              <a:srgbClr val="FFFFFF"/>
            </a:solidFill>
            <a:ln w="161925" cap="sq">
              <a:solidFill>
                <a:srgbClr val="000000"/>
              </a:solidFill>
              <a:prstDash val="solid"/>
              <a:miter/>
            </a:ln>
          </p:spPr>
        </p:sp>
        <p:sp>
          <p:nvSpPr>
            <p:cNvPr id="27" name="TextBox 27"/>
            <p:cNvSpPr txBox="1"/>
            <p:nvPr/>
          </p:nvSpPr>
          <p:spPr>
            <a:xfrm>
              <a:off x="114300" y="-19050"/>
              <a:ext cx="584200" cy="7175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sp>
        <p:nvSpPr>
          <p:cNvPr id="28" name="TextBox 28"/>
          <p:cNvSpPr txBox="1"/>
          <p:nvPr/>
        </p:nvSpPr>
        <p:spPr>
          <a:xfrm>
            <a:off x="2585027" y="7652275"/>
            <a:ext cx="4950833" cy="10972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187"/>
              </a:lnSpc>
            </a:pPr>
            <a:r>
              <a:rPr lang="en-US" sz="1585" spc="155">
                <a:solidFill>
                  <a:srgbClr val="F2F4F5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29" name="Freeform 29"/>
          <p:cNvSpPr/>
          <p:nvPr/>
        </p:nvSpPr>
        <p:spPr>
          <a:xfrm>
            <a:off x="8316248" y="3584336"/>
            <a:ext cx="893040" cy="1072428"/>
          </a:xfrm>
          <a:custGeom>
            <a:avLst/>
            <a:gdLst/>
            <a:ahLst/>
            <a:cxnLst/>
            <a:rect l="l" t="t" r="r" b="b"/>
            <a:pathLst>
              <a:path w="893040" h="1072428">
                <a:moveTo>
                  <a:pt x="0" y="0"/>
                </a:moveTo>
                <a:lnTo>
                  <a:pt x="893040" y="0"/>
                </a:lnTo>
                <a:lnTo>
                  <a:pt x="893040" y="1072428"/>
                </a:lnTo>
                <a:lnTo>
                  <a:pt x="0" y="107242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30" name="Freeform 30"/>
          <p:cNvSpPr/>
          <p:nvPr/>
        </p:nvSpPr>
        <p:spPr>
          <a:xfrm>
            <a:off x="8155450" y="7714715"/>
            <a:ext cx="1023765" cy="1040796"/>
          </a:xfrm>
          <a:custGeom>
            <a:avLst/>
            <a:gdLst/>
            <a:ahLst/>
            <a:cxnLst/>
            <a:rect l="l" t="t" r="r" b="b"/>
            <a:pathLst>
              <a:path w="1023765" h="1040796">
                <a:moveTo>
                  <a:pt x="0" y="0"/>
                </a:moveTo>
                <a:lnTo>
                  <a:pt x="1023765" y="0"/>
                </a:lnTo>
                <a:lnTo>
                  <a:pt x="1023765" y="1040796"/>
                </a:lnTo>
                <a:lnTo>
                  <a:pt x="0" y="1040796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31" name="Freeform 31"/>
          <p:cNvSpPr/>
          <p:nvPr/>
        </p:nvSpPr>
        <p:spPr>
          <a:xfrm>
            <a:off x="6632746" y="5633117"/>
            <a:ext cx="980529" cy="1070022"/>
          </a:xfrm>
          <a:custGeom>
            <a:avLst/>
            <a:gdLst/>
            <a:ahLst/>
            <a:cxnLst/>
            <a:rect l="l" t="t" r="r" b="b"/>
            <a:pathLst>
              <a:path w="980529" h="1070022">
                <a:moveTo>
                  <a:pt x="0" y="0"/>
                </a:moveTo>
                <a:lnTo>
                  <a:pt x="980529" y="0"/>
                </a:lnTo>
                <a:lnTo>
                  <a:pt x="980529" y="1070021"/>
                </a:lnTo>
                <a:lnTo>
                  <a:pt x="0" y="107002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3100" y="6930560"/>
            <a:ext cx="4536606" cy="1399249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4410190" y="-7563"/>
            <a:ext cx="1710961" cy="10674983"/>
            <a:chOff x="0" y="0"/>
            <a:chExt cx="450623" cy="2811518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450623" cy="2811518"/>
            </a:xfrm>
            <a:custGeom>
              <a:avLst/>
              <a:gdLst/>
              <a:ahLst/>
              <a:cxnLst/>
              <a:rect l="l" t="t" r="r" b="b"/>
              <a:pathLst>
                <a:path w="450623" h="2811518">
                  <a:moveTo>
                    <a:pt x="0" y="0"/>
                  </a:moveTo>
                  <a:lnTo>
                    <a:pt x="450623" y="0"/>
                  </a:lnTo>
                  <a:lnTo>
                    <a:pt x="450623" y="2811518"/>
                  </a:lnTo>
                  <a:lnTo>
                    <a:pt x="0" y="2811518"/>
                  </a:lnTo>
                  <a:close/>
                </a:path>
              </a:pathLst>
            </a:custGeom>
            <a:gradFill rotWithShape="1">
              <a:gsLst>
                <a:gs pos="0">
                  <a:srgbClr val="696969">
                    <a:alpha val="72000"/>
                  </a:srgbClr>
                </a:gs>
                <a:gs pos="33333">
                  <a:srgbClr val="B4B4B4">
                    <a:alpha val="82500"/>
                  </a:srgbClr>
                </a:gs>
                <a:gs pos="66667">
                  <a:srgbClr val="EEEEEE">
                    <a:alpha val="70500"/>
                  </a:srgbClr>
                </a:gs>
                <a:gs pos="100000">
                  <a:srgbClr val="FBFBFB">
                    <a:alpha val="22000"/>
                  </a:srgbClr>
                </a:gs>
              </a:gsLst>
              <a:lin ang="0"/>
            </a:gradFill>
            <a:ln cap="sq">
              <a:noFill/>
              <a:prstDash val="solid"/>
              <a:miter/>
            </a:ln>
          </p:spPr>
        </p:sp>
        <p:sp>
          <p:nvSpPr>
            <p:cNvPr id="6" name="TextBox 6"/>
            <p:cNvSpPr txBox="1"/>
            <p:nvPr/>
          </p:nvSpPr>
          <p:spPr>
            <a:xfrm>
              <a:off x="0" y="-19050"/>
              <a:ext cx="450623" cy="2830568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7" name="Freeform 7"/>
          <p:cNvSpPr/>
          <p:nvPr/>
        </p:nvSpPr>
        <p:spPr>
          <a:xfrm>
            <a:off x="0" y="0"/>
            <a:ext cx="4970786" cy="10287000"/>
          </a:xfrm>
          <a:custGeom>
            <a:avLst/>
            <a:gdLst/>
            <a:ahLst/>
            <a:cxnLst/>
            <a:rect l="l" t="t" r="r" b="b"/>
            <a:pathLst>
              <a:path w="4970786" h="10287000">
                <a:moveTo>
                  <a:pt x="0" y="0"/>
                </a:moveTo>
                <a:lnTo>
                  <a:pt x="4970786" y="0"/>
                </a:lnTo>
                <a:lnTo>
                  <a:pt x="4970786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121386" r="-121386"/>
            </a:stretch>
          </a:blipFill>
        </p:spPr>
      </p:sp>
      <p:sp>
        <p:nvSpPr>
          <p:cNvPr id="8" name="TextBox 8"/>
          <p:cNvSpPr txBox="1"/>
          <p:nvPr/>
        </p:nvSpPr>
        <p:spPr>
          <a:xfrm>
            <a:off x="6121151" y="2617219"/>
            <a:ext cx="5325326" cy="8983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7291"/>
              </a:lnSpc>
              <a:spcBef>
                <a:spcPct val="0"/>
              </a:spcBef>
            </a:pPr>
            <a:r>
              <a:rPr lang="en-US" sz="5283" u="none" strike="noStrike" spc="184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STATISTICS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121151" y="5161798"/>
            <a:ext cx="3780505" cy="21468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17408"/>
              </a:lnSpc>
              <a:spcBef>
                <a:spcPct val="0"/>
              </a:spcBef>
            </a:pPr>
            <a:r>
              <a:rPr lang="en-US" sz="12614" u="none" strike="noStrike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80%</a:t>
            </a:r>
          </a:p>
        </p:txBody>
      </p:sp>
      <p:sp>
        <p:nvSpPr>
          <p:cNvPr id="10" name="Freeform 10"/>
          <p:cNvSpPr/>
          <p:nvPr/>
        </p:nvSpPr>
        <p:spPr>
          <a:xfrm>
            <a:off x="11331109" y="2335242"/>
            <a:ext cx="3650772" cy="2669627"/>
          </a:xfrm>
          <a:custGeom>
            <a:avLst/>
            <a:gdLst/>
            <a:ahLst/>
            <a:cxnLst/>
            <a:rect l="l" t="t" r="r" b="b"/>
            <a:pathLst>
              <a:path w="3650772" h="2669627">
                <a:moveTo>
                  <a:pt x="0" y="0"/>
                </a:moveTo>
                <a:lnTo>
                  <a:pt x="3650772" y="0"/>
                </a:lnTo>
                <a:lnTo>
                  <a:pt x="3650772" y="2669627"/>
                </a:lnTo>
                <a:lnTo>
                  <a:pt x="0" y="2669627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1" name="TextBox 11"/>
          <p:cNvSpPr txBox="1"/>
          <p:nvPr/>
        </p:nvSpPr>
        <p:spPr>
          <a:xfrm>
            <a:off x="6121151" y="3686552"/>
            <a:ext cx="4950833" cy="10972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187"/>
              </a:lnSpc>
            </a:pPr>
            <a:r>
              <a:rPr lang="en-US" sz="1585" spc="155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pic>
        <p:nvPicPr>
          <p:cNvPr id="12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83262" y="6930560"/>
            <a:ext cx="4536606" cy="1399249"/>
          </a:xfrm>
          <a:prstGeom prst="rect">
            <a:avLst/>
          </a:prstGeom>
        </p:spPr>
      </p:pic>
      <p:sp>
        <p:nvSpPr>
          <p:cNvPr id="13" name="TextBox 13"/>
          <p:cNvSpPr txBox="1"/>
          <p:nvPr/>
        </p:nvSpPr>
        <p:spPr>
          <a:xfrm>
            <a:off x="10861313" y="5161798"/>
            <a:ext cx="3780505" cy="21468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17408"/>
              </a:lnSpc>
              <a:spcBef>
                <a:spcPct val="0"/>
              </a:spcBef>
            </a:pPr>
            <a:r>
              <a:rPr lang="en-US" sz="12614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2</a:t>
            </a:r>
            <a:r>
              <a:rPr lang="en-US" sz="12614" u="none" strike="noStrike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0%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</p:sp>
      <p:grpSp>
        <p:nvGrpSpPr>
          <p:cNvPr id="3" name="Group 3"/>
          <p:cNvGrpSpPr/>
          <p:nvPr/>
        </p:nvGrpSpPr>
        <p:grpSpPr>
          <a:xfrm rot="-5400000">
            <a:off x="8599743" y="-3261333"/>
            <a:ext cx="1088513" cy="18288000"/>
            <a:chOff x="0" y="0"/>
            <a:chExt cx="286687" cy="4816593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86687" cy="4816592"/>
            </a:xfrm>
            <a:custGeom>
              <a:avLst/>
              <a:gdLst/>
              <a:ahLst/>
              <a:cxnLst/>
              <a:rect l="l" t="t" r="r" b="b"/>
              <a:pathLst>
                <a:path w="286687" h="4816592">
                  <a:moveTo>
                    <a:pt x="0" y="0"/>
                  </a:moveTo>
                  <a:lnTo>
                    <a:pt x="286687" y="0"/>
                  </a:lnTo>
                  <a:lnTo>
                    <a:pt x="286687" y="4816592"/>
                  </a:lnTo>
                  <a:lnTo>
                    <a:pt x="0" y="4816592"/>
                  </a:lnTo>
                  <a:close/>
                </a:path>
              </a:pathLst>
            </a:custGeom>
            <a:gradFill rotWithShape="1">
              <a:gsLst>
                <a:gs pos="0">
                  <a:srgbClr val="696969">
                    <a:alpha val="41040"/>
                  </a:srgbClr>
                </a:gs>
                <a:gs pos="33333">
                  <a:srgbClr val="B4B4B4">
                    <a:alpha val="47025"/>
                  </a:srgbClr>
                </a:gs>
                <a:gs pos="66667">
                  <a:srgbClr val="EEEEEE">
                    <a:alpha val="40185"/>
                  </a:srgbClr>
                </a:gs>
                <a:gs pos="100000">
                  <a:srgbClr val="FBFBFB">
                    <a:alpha val="12540"/>
                  </a:srgbClr>
                </a:gs>
              </a:gsLst>
              <a:lin ang="0"/>
            </a:gradFill>
            <a:ln cap="sq">
              <a:noFill/>
              <a:prstDash val="solid"/>
              <a:miter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19050"/>
              <a:ext cx="286687" cy="483564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6" name="Freeform 6"/>
          <p:cNvSpPr/>
          <p:nvPr/>
        </p:nvSpPr>
        <p:spPr>
          <a:xfrm>
            <a:off x="17900" y="6235092"/>
            <a:ext cx="18270100" cy="7467944"/>
          </a:xfrm>
          <a:custGeom>
            <a:avLst/>
            <a:gdLst/>
            <a:ahLst/>
            <a:cxnLst/>
            <a:rect l="l" t="t" r="r" b="b"/>
            <a:pathLst>
              <a:path w="18270100" h="7467944">
                <a:moveTo>
                  <a:pt x="0" y="0"/>
                </a:moveTo>
                <a:lnTo>
                  <a:pt x="18270100" y="0"/>
                </a:lnTo>
                <a:lnTo>
                  <a:pt x="18270100" y="7467944"/>
                </a:lnTo>
                <a:lnTo>
                  <a:pt x="0" y="746794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31574" b="-31574"/>
            </a:stretch>
          </a:blipFill>
        </p:spPr>
      </p:sp>
      <p:grpSp>
        <p:nvGrpSpPr>
          <p:cNvPr id="7" name="Group 7"/>
          <p:cNvGrpSpPr/>
          <p:nvPr/>
        </p:nvGrpSpPr>
        <p:grpSpPr>
          <a:xfrm>
            <a:off x="1739474" y="4031724"/>
            <a:ext cx="4595005" cy="3573491"/>
            <a:chOff x="0" y="0"/>
            <a:chExt cx="1210207" cy="941166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1210207" cy="941166"/>
            </a:xfrm>
            <a:custGeom>
              <a:avLst/>
              <a:gdLst/>
              <a:ahLst/>
              <a:cxnLst/>
              <a:rect l="l" t="t" r="r" b="b"/>
              <a:pathLst>
                <a:path w="1210207" h="941166">
                  <a:moveTo>
                    <a:pt x="33697" y="0"/>
                  </a:moveTo>
                  <a:lnTo>
                    <a:pt x="1176510" y="0"/>
                  </a:lnTo>
                  <a:cubicBezTo>
                    <a:pt x="1195120" y="0"/>
                    <a:pt x="1210207" y="15087"/>
                    <a:pt x="1210207" y="33697"/>
                  </a:cubicBezTo>
                  <a:lnTo>
                    <a:pt x="1210207" y="907469"/>
                  </a:lnTo>
                  <a:cubicBezTo>
                    <a:pt x="1210207" y="916406"/>
                    <a:pt x="1206657" y="924977"/>
                    <a:pt x="1200337" y="931297"/>
                  </a:cubicBezTo>
                  <a:cubicBezTo>
                    <a:pt x="1194018" y="937616"/>
                    <a:pt x="1185447" y="941166"/>
                    <a:pt x="1176510" y="941166"/>
                  </a:cubicBezTo>
                  <a:lnTo>
                    <a:pt x="33697" y="941166"/>
                  </a:lnTo>
                  <a:cubicBezTo>
                    <a:pt x="24760" y="941166"/>
                    <a:pt x="16189" y="937616"/>
                    <a:pt x="9870" y="931297"/>
                  </a:cubicBezTo>
                  <a:cubicBezTo>
                    <a:pt x="3550" y="924977"/>
                    <a:pt x="0" y="916406"/>
                    <a:pt x="0" y="907469"/>
                  </a:cubicBezTo>
                  <a:lnTo>
                    <a:pt x="0" y="33697"/>
                  </a:lnTo>
                  <a:cubicBezTo>
                    <a:pt x="0" y="24760"/>
                    <a:pt x="3550" y="16189"/>
                    <a:pt x="9870" y="9870"/>
                  </a:cubicBezTo>
                  <a:cubicBezTo>
                    <a:pt x="16189" y="3550"/>
                    <a:pt x="24760" y="0"/>
                    <a:pt x="33697" y="0"/>
                  </a:cubicBezTo>
                  <a:close/>
                </a:path>
              </a:pathLst>
            </a:custGeom>
            <a:solidFill>
              <a:srgbClr val="FFFFFF"/>
            </a:solidFill>
            <a:ln w="38100" cap="sq">
              <a:solidFill>
                <a:srgbClr val="363636"/>
              </a:solidFill>
              <a:prstDash val="solid"/>
              <a:miter/>
            </a:ln>
          </p:spPr>
        </p:sp>
        <p:sp>
          <p:nvSpPr>
            <p:cNvPr id="9" name="TextBox 9"/>
            <p:cNvSpPr txBox="1"/>
            <p:nvPr/>
          </p:nvSpPr>
          <p:spPr>
            <a:xfrm>
              <a:off x="0" y="-19050"/>
              <a:ext cx="1210207" cy="96021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sp>
        <p:nvSpPr>
          <p:cNvPr id="10" name="TextBox 10"/>
          <p:cNvSpPr txBox="1"/>
          <p:nvPr/>
        </p:nvSpPr>
        <p:spPr>
          <a:xfrm>
            <a:off x="4691953" y="1640882"/>
            <a:ext cx="8904094" cy="8983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7291"/>
              </a:lnSpc>
              <a:spcBef>
                <a:spcPct val="0"/>
              </a:spcBef>
            </a:pPr>
            <a:r>
              <a:rPr lang="en-US" sz="5283" u="none" strike="noStrike" spc="184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NEXT PROJECT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4576738" y="2699649"/>
            <a:ext cx="9134523" cy="6940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00"/>
              </a:lnSpc>
            </a:pPr>
            <a:r>
              <a:rPr lang="en-US" sz="2000">
                <a:solidFill>
                  <a:srgbClr val="100F0D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grpSp>
        <p:nvGrpSpPr>
          <p:cNvPr id="12" name="Group 12"/>
          <p:cNvGrpSpPr/>
          <p:nvPr/>
        </p:nvGrpSpPr>
        <p:grpSpPr>
          <a:xfrm>
            <a:off x="2954088" y="3875355"/>
            <a:ext cx="157787" cy="156369"/>
            <a:chOff x="0" y="0"/>
            <a:chExt cx="320400" cy="31752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320421" cy="329184"/>
            </a:xfrm>
            <a:custGeom>
              <a:avLst/>
              <a:gdLst/>
              <a:ahLst/>
              <a:cxnLst/>
              <a:rect l="l" t="t" r="r" b="b"/>
              <a:pathLst>
                <a:path w="320421" h="329184">
                  <a:moveTo>
                    <a:pt x="320421" y="329184"/>
                  </a:moveTo>
                  <a:lnTo>
                    <a:pt x="0" y="329184"/>
                  </a:lnTo>
                  <a:lnTo>
                    <a:pt x="0" y="158750"/>
                  </a:lnTo>
                  <a:cubicBezTo>
                    <a:pt x="0" y="70866"/>
                    <a:pt x="71501" y="0"/>
                    <a:pt x="160147" y="0"/>
                  </a:cubicBezTo>
                  <a:cubicBezTo>
                    <a:pt x="248793" y="0"/>
                    <a:pt x="320421" y="70866"/>
                    <a:pt x="320421" y="158750"/>
                  </a:cubicBezTo>
                  <a:lnTo>
                    <a:pt x="320421" y="329184"/>
                  </a:lnTo>
                  <a:close/>
                </a:path>
              </a:pathLst>
            </a:custGeom>
            <a:solidFill>
              <a:srgbClr val="040506"/>
            </a:solidFill>
          </p:spPr>
        </p:sp>
      </p:grpSp>
      <p:grpSp>
        <p:nvGrpSpPr>
          <p:cNvPr id="14" name="Group 14"/>
          <p:cNvGrpSpPr/>
          <p:nvPr/>
        </p:nvGrpSpPr>
        <p:grpSpPr>
          <a:xfrm>
            <a:off x="1981480" y="3875355"/>
            <a:ext cx="1047779" cy="1124013"/>
            <a:chOff x="0" y="0"/>
            <a:chExt cx="2127600" cy="2282400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2136648" cy="2334387"/>
            </a:xfrm>
            <a:custGeom>
              <a:avLst/>
              <a:gdLst/>
              <a:ahLst/>
              <a:cxnLst/>
              <a:rect l="l" t="t" r="r" b="b"/>
              <a:pathLst>
                <a:path w="2136648" h="2334387">
                  <a:moveTo>
                    <a:pt x="1983994" y="0"/>
                  </a:moveTo>
                  <a:lnTo>
                    <a:pt x="144145" y="0"/>
                  </a:lnTo>
                  <a:cubicBezTo>
                    <a:pt x="64389" y="0"/>
                    <a:pt x="0" y="64262"/>
                    <a:pt x="0" y="143891"/>
                  </a:cubicBezTo>
                  <a:lnTo>
                    <a:pt x="0" y="2334387"/>
                  </a:lnTo>
                  <a:lnTo>
                    <a:pt x="991997" y="1949577"/>
                  </a:lnTo>
                  <a:lnTo>
                    <a:pt x="1983994" y="2334387"/>
                  </a:lnTo>
                  <a:lnTo>
                    <a:pt x="1983994" y="152400"/>
                  </a:lnTo>
                  <a:cubicBezTo>
                    <a:pt x="1983994" y="67945"/>
                    <a:pt x="2052574" y="0"/>
                    <a:pt x="2136648" y="0"/>
                  </a:cubicBezTo>
                  <a:lnTo>
                    <a:pt x="1983994" y="0"/>
                  </a:lnTo>
                  <a:close/>
                </a:path>
              </a:pathLst>
            </a:custGeom>
            <a:solidFill>
              <a:srgbClr val="363636"/>
            </a:solidFill>
          </p:spPr>
        </p:sp>
      </p:grpSp>
      <p:grpSp>
        <p:nvGrpSpPr>
          <p:cNvPr id="16" name="Group 16"/>
          <p:cNvGrpSpPr>
            <a:grpSpLocks noChangeAspect="1"/>
          </p:cNvGrpSpPr>
          <p:nvPr/>
        </p:nvGrpSpPr>
        <p:grpSpPr>
          <a:xfrm>
            <a:off x="1981480" y="5281810"/>
            <a:ext cx="2055497" cy="2055497"/>
            <a:chOff x="0" y="0"/>
            <a:chExt cx="6350000" cy="6350000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4"/>
              <a:stretch>
                <a:fillRect t="-24961" b="-24961"/>
              </a:stretch>
            </a:blipFill>
          </p:spPr>
        </p:sp>
      </p:grpSp>
      <p:sp>
        <p:nvSpPr>
          <p:cNvPr id="18" name="TextBox 18"/>
          <p:cNvSpPr txBox="1"/>
          <p:nvPr/>
        </p:nvSpPr>
        <p:spPr>
          <a:xfrm>
            <a:off x="3211520" y="4255348"/>
            <a:ext cx="2745392" cy="3581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 indent="0" algn="l">
              <a:lnSpc>
                <a:spcPts val="2992"/>
              </a:lnSpc>
              <a:spcBef>
                <a:spcPct val="0"/>
              </a:spcBef>
            </a:pPr>
            <a:r>
              <a:rPr lang="en-US" sz="2168" u="none" strike="noStrike" spc="212">
                <a:solidFill>
                  <a:srgbClr val="00000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Project 1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4155250" y="5309836"/>
            <a:ext cx="1975728" cy="19708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773"/>
              </a:lnSpc>
            </a:pPr>
            <a:r>
              <a:rPr lang="en-US" sz="1285" spc="125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3211520" y="4684366"/>
            <a:ext cx="2745392" cy="3024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440"/>
              </a:lnSpc>
              <a:spcBef>
                <a:spcPct val="0"/>
              </a:spcBef>
            </a:pPr>
            <a:r>
              <a:rPr lang="en-US" sz="1768" spc="173">
                <a:solidFill>
                  <a:srgbClr val="000000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Australia - Sydney</a:t>
            </a:r>
          </a:p>
        </p:txBody>
      </p:sp>
      <p:grpSp>
        <p:nvGrpSpPr>
          <p:cNvPr id="21" name="Group 21"/>
          <p:cNvGrpSpPr/>
          <p:nvPr/>
        </p:nvGrpSpPr>
        <p:grpSpPr>
          <a:xfrm>
            <a:off x="6844166" y="4031724"/>
            <a:ext cx="4595005" cy="3573491"/>
            <a:chOff x="0" y="0"/>
            <a:chExt cx="1210207" cy="941166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1210207" cy="941166"/>
            </a:xfrm>
            <a:custGeom>
              <a:avLst/>
              <a:gdLst/>
              <a:ahLst/>
              <a:cxnLst/>
              <a:rect l="l" t="t" r="r" b="b"/>
              <a:pathLst>
                <a:path w="1210207" h="941166">
                  <a:moveTo>
                    <a:pt x="33697" y="0"/>
                  </a:moveTo>
                  <a:lnTo>
                    <a:pt x="1176510" y="0"/>
                  </a:lnTo>
                  <a:cubicBezTo>
                    <a:pt x="1195120" y="0"/>
                    <a:pt x="1210207" y="15087"/>
                    <a:pt x="1210207" y="33697"/>
                  </a:cubicBezTo>
                  <a:lnTo>
                    <a:pt x="1210207" y="907469"/>
                  </a:lnTo>
                  <a:cubicBezTo>
                    <a:pt x="1210207" y="916406"/>
                    <a:pt x="1206657" y="924977"/>
                    <a:pt x="1200337" y="931297"/>
                  </a:cubicBezTo>
                  <a:cubicBezTo>
                    <a:pt x="1194018" y="937616"/>
                    <a:pt x="1185447" y="941166"/>
                    <a:pt x="1176510" y="941166"/>
                  </a:cubicBezTo>
                  <a:lnTo>
                    <a:pt x="33697" y="941166"/>
                  </a:lnTo>
                  <a:cubicBezTo>
                    <a:pt x="24760" y="941166"/>
                    <a:pt x="16189" y="937616"/>
                    <a:pt x="9870" y="931297"/>
                  </a:cubicBezTo>
                  <a:cubicBezTo>
                    <a:pt x="3550" y="924977"/>
                    <a:pt x="0" y="916406"/>
                    <a:pt x="0" y="907469"/>
                  </a:cubicBezTo>
                  <a:lnTo>
                    <a:pt x="0" y="33697"/>
                  </a:lnTo>
                  <a:cubicBezTo>
                    <a:pt x="0" y="24760"/>
                    <a:pt x="3550" y="16189"/>
                    <a:pt x="9870" y="9870"/>
                  </a:cubicBezTo>
                  <a:cubicBezTo>
                    <a:pt x="16189" y="3550"/>
                    <a:pt x="24760" y="0"/>
                    <a:pt x="33697" y="0"/>
                  </a:cubicBezTo>
                  <a:close/>
                </a:path>
              </a:pathLst>
            </a:custGeom>
            <a:solidFill>
              <a:srgbClr val="FFFFFF"/>
            </a:solidFill>
            <a:ln w="38100" cap="sq">
              <a:solidFill>
                <a:srgbClr val="363636"/>
              </a:solidFill>
              <a:prstDash val="solid"/>
              <a:miter/>
            </a:ln>
          </p:spPr>
        </p:sp>
        <p:sp>
          <p:nvSpPr>
            <p:cNvPr id="23" name="TextBox 23"/>
            <p:cNvSpPr txBox="1"/>
            <p:nvPr/>
          </p:nvSpPr>
          <p:spPr>
            <a:xfrm>
              <a:off x="0" y="-19050"/>
              <a:ext cx="1210207" cy="96021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24" name="Group 24"/>
          <p:cNvGrpSpPr/>
          <p:nvPr/>
        </p:nvGrpSpPr>
        <p:grpSpPr>
          <a:xfrm>
            <a:off x="8058780" y="3875355"/>
            <a:ext cx="157787" cy="156369"/>
            <a:chOff x="0" y="0"/>
            <a:chExt cx="320400" cy="31752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320421" cy="329184"/>
            </a:xfrm>
            <a:custGeom>
              <a:avLst/>
              <a:gdLst/>
              <a:ahLst/>
              <a:cxnLst/>
              <a:rect l="l" t="t" r="r" b="b"/>
              <a:pathLst>
                <a:path w="320421" h="329184">
                  <a:moveTo>
                    <a:pt x="320421" y="329184"/>
                  </a:moveTo>
                  <a:lnTo>
                    <a:pt x="0" y="329184"/>
                  </a:lnTo>
                  <a:lnTo>
                    <a:pt x="0" y="158750"/>
                  </a:lnTo>
                  <a:cubicBezTo>
                    <a:pt x="0" y="70866"/>
                    <a:pt x="71501" y="0"/>
                    <a:pt x="160147" y="0"/>
                  </a:cubicBezTo>
                  <a:cubicBezTo>
                    <a:pt x="248793" y="0"/>
                    <a:pt x="320421" y="70866"/>
                    <a:pt x="320421" y="158750"/>
                  </a:cubicBezTo>
                  <a:lnTo>
                    <a:pt x="320421" y="329184"/>
                  </a:lnTo>
                  <a:close/>
                </a:path>
              </a:pathLst>
            </a:custGeom>
            <a:solidFill>
              <a:srgbClr val="040506"/>
            </a:solidFill>
          </p:spPr>
        </p:sp>
      </p:grpSp>
      <p:grpSp>
        <p:nvGrpSpPr>
          <p:cNvPr id="26" name="Group 26"/>
          <p:cNvGrpSpPr/>
          <p:nvPr/>
        </p:nvGrpSpPr>
        <p:grpSpPr>
          <a:xfrm>
            <a:off x="7086172" y="3875355"/>
            <a:ext cx="1047779" cy="1124013"/>
            <a:chOff x="0" y="0"/>
            <a:chExt cx="2127600" cy="2282400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2136648" cy="2334387"/>
            </a:xfrm>
            <a:custGeom>
              <a:avLst/>
              <a:gdLst/>
              <a:ahLst/>
              <a:cxnLst/>
              <a:rect l="l" t="t" r="r" b="b"/>
              <a:pathLst>
                <a:path w="2136648" h="2334387">
                  <a:moveTo>
                    <a:pt x="1983994" y="0"/>
                  </a:moveTo>
                  <a:lnTo>
                    <a:pt x="144145" y="0"/>
                  </a:lnTo>
                  <a:cubicBezTo>
                    <a:pt x="64389" y="0"/>
                    <a:pt x="0" y="64262"/>
                    <a:pt x="0" y="143891"/>
                  </a:cubicBezTo>
                  <a:lnTo>
                    <a:pt x="0" y="2334387"/>
                  </a:lnTo>
                  <a:lnTo>
                    <a:pt x="991997" y="1949577"/>
                  </a:lnTo>
                  <a:lnTo>
                    <a:pt x="1983994" y="2334387"/>
                  </a:lnTo>
                  <a:lnTo>
                    <a:pt x="1983994" y="152400"/>
                  </a:lnTo>
                  <a:cubicBezTo>
                    <a:pt x="1983994" y="67945"/>
                    <a:pt x="2052574" y="0"/>
                    <a:pt x="2136648" y="0"/>
                  </a:cubicBezTo>
                  <a:lnTo>
                    <a:pt x="1983994" y="0"/>
                  </a:lnTo>
                  <a:close/>
                </a:path>
              </a:pathLst>
            </a:custGeom>
            <a:solidFill>
              <a:srgbClr val="363636"/>
            </a:solidFill>
          </p:spPr>
        </p:sp>
      </p:grp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7086172" y="5281810"/>
            <a:ext cx="2055497" cy="2055497"/>
            <a:chOff x="0" y="0"/>
            <a:chExt cx="6350000" cy="6350000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5"/>
              <a:stretch>
                <a:fillRect l="-32832" r="-32832"/>
              </a:stretch>
            </a:blipFill>
          </p:spPr>
        </p:sp>
      </p:grpSp>
      <p:sp>
        <p:nvSpPr>
          <p:cNvPr id="30" name="TextBox 30"/>
          <p:cNvSpPr txBox="1"/>
          <p:nvPr/>
        </p:nvSpPr>
        <p:spPr>
          <a:xfrm>
            <a:off x="8316212" y="4255348"/>
            <a:ext cx="2745392" cy="3581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 indent="0" algn="l">
              <a:lnSpc>
                <a:spcPts val="2992"/>
              </a:lnSpc>
              <a:spcBef>
                <a:spcPct val="0"/>
              </a:spcBef>
            </a:pPr>
            <a:r>
              <a:rPr lang="en-US" sz="2168" u="none" strike="noStrike" spc="212">
                <a:solidFill>
                  <a:srgbClr val="00000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Project 2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9259943" y="5309836"/>
            <a:ext cx="1975728" cy="19708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773"/>
              </a:lnSpc>
            </a:pPr>
            <a:r>
              <a:rPr lang="en-US" sz="1285" spc="125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8316212" y="4684366"/>
            <a:ext cx="2745392" cy="3024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440"/>
              </a:lnSpc>
              <a:spcBef>
                <a:spcPct val="0"/>
              </a:spcBef>
            </a:pPr>
            <a:r>
              <a:rPr lang="en-US" sz="1768" spc="173">
                <a:solidFill>
                  <a:srgbClr val="000000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Australia - Sydney</a:t>
            </a:r>
          </a:p>
        </p:txBody>
      </p:sp>
      <p:grpSp>
        <p:nvGrpSpPr>
          <p:cNvPr id="33" name="Group 33"/>
          <p:cNvGrpSpPr/>
          <p:nvPr/>
        </p:nvGrpSpPr>
        <p:grpSpPr>
          <a:xfrm>
            <a:off x="11953521" y="4031724"/>
            <a:ext cx="4595005" cy="3573491"/>
            <a:chOff x="0" y="0"/>
            <a:chExt cx="1210207" cy="941166"/>
          </a:xfrm>
        </p:grpSpPr>
        <p:sp>
          <p:nvSpPr>
            <p:cNvPr id="34" name="Freeform 34"/>
            <p:cNvSpPr/>
            <p:nvPr/>
          </p:nvSpPr>
          <p:spPr>
            <a:xfrm>
              <a:off x="0" y="0"/>
              <a:ext cx="1210207" cy="941166"/>
            </a:xfrm>
            <a:custGeom>
              <a:avLst/>
              <a:gdLst/>
              <a:ahLst/>
              <a:cxnLst/>
              <a:rect l="l" t="t" r="r" b="b"/>
              <a:pathLst>
                <a:path w="1210207" h="941166">
                  <a:moveTo>
                    <a:pt x="33697" y="0"/>
                  </a:moveTo>
                  <a:lnTo>
                    <a:pt x="1176510" y="0"/>
                  </a:lnTo>
                  <a:cubicBezTo>
                    <a:pt x="1195120" y="0"/>
                    <a:pt x="1210207" y="15087"/>
                    <a:pt x="1210207" y="33697"/>
                  </a:cubicBezTo>
                  <a:lnTo>
                    <a:pt x="1210207" y="907469"/>
                  </a:lnTo>
                  <a:cubicBezTo>
                    <a:pt x="1210207" y="916406"/>
                    <a:pt x="1206657" y="924977"/>
                    <a:pt x="1200337" y="931297"/>
                  </a:cubicBezTo>
                  <a:cubicBezTo>
                    <a:pt x="1194018" y="937616"/>
                    <a:pt x="1185447" y="941166"/>
                    <a:pt x="1176510" y="941166"/>
                  </a:cubicBezTo>
                  <a:lnTo>
                    <a:pt x="33697" y="941166"/>
                  </a:lnTo>
                  <a:cubicBezTo>
                    <a:pt x="24760" y="941166"/>
                    <a:pt x="16189" y="937616"/>
                    <a:pt x="9870" y="931297"/>
                  </a:cubicBezTo>
                  <a:cubicBezTo>
                    <a:pt x="3550" y="924977"/>
                    <a:pt x="0" y="916406"/>
                    <a:pt x="0" y="907469"/>
                  </a:cubicBezTo>
                  <a:lnTo>
                    <a:pt x="0" y="33697"/>
                  </a:lnTo>
                  <a:cubicBezTo>
                    <a:pt x="0" y="24760"/>
                    <a:pt x="3550" y="16189"/>
                    <a:pt x="9870" y="9870"/>
                  </a:cubicBezTo>
                  <a:cubicBezTo>
                    <a:pt x="16189" y="3550"/>
                    <a:pt x="24760" y="0"/>
                    <a:pt x="33697" y="0"/>
                  </a:cubicBezTo>
                  <a:close/>
                </a:path>
              </a:pathLst>
            </a:custGeom>
            <a:solidFill>
              <a:srgbClr val="FFFFFF"/>
            </a:solidFill>
            <a:ln w="38100" cap="sq">
              <a:solidFill>
                <a:srgbClr val="363636"/>
              </a:solidFill>
              <a:prstDash val="solid"/>
              <a:miter/>
            </a:ln>
          </p:spPr>
        </p:sp>
        <p:sp>
          <p:nvSpPr>
            <p:cNvPr id="35" name="TextBox 35"/>
            <p:cNvSpPr txBox="1"/>
            <p:nvPr/>
          </p:nvSpPr>
          <p:spPr>
            <a:xfrm>
              <a:off x="0" y="-19050"/>
              <a:ext cx="1210207" cy="960216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36" name="Group 36"/>
          <p:cNvGrpSpPr/>
          <p:nvPr/>
        </p:nvGrpSpPr>
        <p:grpSpPr>
          <a:xfrm>
            <a:off x="13168135" y="3875355"/>
            <a:ext cx="157787" cy="156369"/>
            <a:chOff x="0" y="0"/>
            <a:chExt cx="320400" cy="317520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320421" cy="329184"/>
            </a:xfrm>
            <a:custGeom>
              <a:avLst/>
              <a:gdLst/>
              <a:ahLst/>
              <a:cxnLst/>
              <a:rect l="l" t="t" r="r" b="b"/>
              <a:pathLst>
                <a:path w="320421" h="329184">
                  <a:moveTo>
                    <a:pt x="320421" y="329184"/>
                  </a:moveTo>
                  <a:lnTo>
                    <a:pt x="0" y="329184"/>
                  </a:lnTo>
                  <a:lnTo>
                    <a:pt x="0" y="158750"/>
                  </a:lnTo>
                  <a:cubicBezTo>
                    <a:pt x="0" y="70866"/>
                    <a:pt x="71501" y="0"/>
                    <a:pt x="160147" y="0"/>
                  </a:cubicBezTo>
                  <a:cubicBezTo>
                    <a:pt x="248793" y="0"/>
                    <a:pt x="320421" y="70866"/>
                    <a:pt x="320421" y="158750"/>
                  </a:cubicBezTo>
                  <a:lnTo>
                    <a:pt x="320421" y="329184"/>
                  </a:lnTo>
                  <a:close/>
                </a:path>
              </a:pathLst>
            </a:custGeom>
            <a:solidFill>
              <a:srgbClr val="040506"/>
            </a:solidFill>
          </p:spPr>
        </p:sp>
      </p:grpSp>
      <p:grpSp>
        <p:nvGrpSpPr>
          <p:cNvPr id="38" name="Group 38"/>
          <p:cNvGrpSpPr/>
          <p:nvPr/>
        </p:nvGrpSpPr>
        <p:grpSpPr>
          <a:xfrm>
            <a:off x="12195527" y="3875355"/>
            <a:ext cx="1047779" cy="1124013"/>
            <a:chOff x="0" y="0"/>
            <a:chExt cx="2127600" cy="2282400"/>
          </a:xfrm>
        </p:grpSpPr>
        <p:sp>
          <p:nvSpPr>
            <p:cNvPr id="39" name="Freeform 39"/>
            <p:cNvSpPr/>
            <p:nvPr/>
          </p:nvSpPr>
          <p:spPr>
            <a:xfrm>
              <a:off x="0" y="0"/>
              <a:ext cx="2136648" cy="2334387"/>
            </a:xfrm>
            <a:custGeom>
              <a:avLst/>
              <a:gdLst/>
              <a:ahLst/>
              <a:cxnLst/>
              <a:rect l="l" t="t" r="r" b="b"/>
              <a:pathLst>
                <a:path w="2136648" h="2334387">
                  <a:moveTo>
                    <a:pt x="1983994" y="0"/>
                  </a:moveTo>
                  <a:lnTo>
                    <a:pt x="144145" y="0"/>
                  </a:lnTo>
                  <a:cubicBezTo>
                    <a:pt x="64389" y="0"/>
                    <a:pt x="0" y="64262"/>
                    <a:pt x="0" y="143891"/>
                  </a:cubicBezTo>
                  <a:lnTo>
                    <a:pt x="0" y="2334387"/>
                  </a:lnTo>
                  <a:lnTo>
                    <a:pt x="991997" y="1949577"/>
                  </a:lnTo>
                  <a:lnTo>
                    <a:pt x="1983994" y="2334387"/>
                  </a:lnTo>
                  <a:lnTo>
                    <a:pt x="1983994" y="152400"/>
                  </a:lnTo>
                  <a:cubicBezTo>
                    <a:pt x="1983994" y="67945"/>
                    <a:pt x="2052574" y="0"/>
                    <a:pt x="2136648" y="0"/>
                  </a:cubicBezTo>
                  <a:lnTo>
                    <a:pt x="1983994" y="0"/>
                  </a:lnTo>
                  <a:close/>
                </a:path>
              </a:pathLst>
            </a:custGeom>
            <a:solidFill>
              <a:srgbClr val="363636"/>
            </a:solidFill>
          </p:spPr>
        </p:sp>
      </p:grpSp>
      <p:grpSp>
        <p:nvGrpSpPr>
          <p:cNvPr id="40" name="Group 40"/>
          <p:cNvGrpSpPr>
            <a:grpSpLocks noChangeAspect="1"/>
          </p:cNvGrpSpPr>
          <p:nvPr/>
        </p:nvGrpSpPr>
        <p:grpSpPr>
          <a:xfrm>
            <a:off x="12195527" y="5281810"/>
            <a:ext cx="2055497" cy="2055497"/>
            <a:chOff x="0" y="0"/>
            <a:chExt cx="6350000" cy="6350000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6"/>
              <a:stretch>
                <a:fillRect t="-12487" b="-12487"/>
              </a:stretch>
            </a:blipFill>
          </p:spPr>
        </p:sp>
      </p:grpSp>
      <p:sp>
        <p:nvSpPr>
          <p:cNvPr id="42" name="TextBox 42"/>
          <p:cNvSpPr txBox="1"/>
          <p:nvPr/>
        </p:nvSpPr>
        <p:spPr>
          <a:xfrm>
            <a:off x="13425567" y="4255348"/>
            <a:ext cx="2745392" cy="3581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 indent="0" algn="l">
              <a:lnSpc>
                <a:spcPts val="2992"/>
              </a:lnSpc>
              <a:spcBef>
                <a:spcPct val="0"/>
              </a:spcBef>
            </a:pPr>
            <a:r>
              <a:rPr lang="en-US" sz="2168" u="none" strike="noStrike" spc="212">
                <a:solidFill>
                  <a:srgbClr val="00000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Project 3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14369298" y="5309836"/>
            <a:ext cx="1975728" cy="19708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773"/>
              </a:lnSpc>
            </a:pPr>
            <a:r>
              <a:rPr lang="en-US" sz="1285" spc="125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3425567" y="4684366"/>
            <a:ext cx="2745392" cy="3024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440"/>
              </a:lnSpc>
              <a:spcBef>
                <a:spcPct val="0"/>
              </a:spcBef>
            </a:pPr>
            <a:r>
              <a:rPr lang="en-US" sz="1768" spc="173">
                <a:solidFill>
                  <a:srgbClr val="000000"/>
                </a:solidFill>
                <a:latin typeface="Montserrat Classic"/>
                <a:ea typeface="Montserrat Classic"/>
                <a:cs typeface="Montserrat Classic"/>
                <a:sym typeface="Montserrat Classic"/>
              </a:rPr>
              <a:t>Australia - Sydney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9731123" y="2607270"/>
            <a:ext cx="6422296" cy="6422996"/>
            <a:chOff x="0" y="0"/>
            <a:chExt cx="6603840" cy="660456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603873" cy="6604508"/>
            </a:xfrm>
            <a:custGeom>
              <a:avLst/>
              <a:gdLst/>
              <a:ahLst/>
              <a:cxnLst/>
              <a:rect l="l" t="t" r="r" b="b"/>
              <a:pathLst>
                <a:path w="6603873" h="6604508">
                  <a:moveTo>
                    <a:pt x="0" y="3302254"/>
                  </a:moveTo>
                  <a:cubicBezTo>
                    <a:pt x="0" y="1478534"/>
                    <a:pt x="1478280" y="0"/>
                    <a:pt x="3301873" y="0"/>
                  </a:cubicBezTo>
                  <a:lnTo>
                    <a:pt x="3301873" y="25527"/>
                  </a:lnTo>
                  <a:lnTo>
                    <a:pt x="3301873" y="0"/>
                  </a:lnTo>
                  <a:cubicBezTo>
                    <a:pt x="5125466" y="0"/>
                    <a:pt x="6603873" y="1478534"/>
                    <a:pt x="6603873" y="3302254"/>
                  </a:cubicBezTo>
                  <a:cubicBezTo>
                    <a:pt x="6603873" y="5125974"/>
                    <a:pt x="5125466" y="6604508"/>
                    <a:pt x="3301873" y="6604508"/>
                  </a:cubicBezTo>
                  <a:lnTo>
                    <a:pt x="3301873" y="6578981"/>
                  </a:lnTo>
                  <a:lnTo>
                    <a:pt x="3301873" y="6604508"/>
                  </a:lnTo>
                  <a:cubicBezTo>
                    <a:pt x="1478280" y="6604508"/>
                    <a:pt x="0" y="5126101"/>
                    <a:pt x="0" y="3302254"/>
                  </a:cubicBezTo>
                  <a:lnTo>
                    <a:pt x="25527" y="3302254"/>
                  </a:lnTo>
                  <a:lnTo>
                    <a:pt x="46990" y="3316097"/>
                  </a:lnTo>
                  <a:cubicBezTo>
                    <a:pt x="40894" y="3325622"/>
                    <a:pt x="29210" y="3330067"/>
                    <a:pt x="18288" y="3326892"/>
                  </a:cubicBezTo>
                  <a:cubicBezTo>
                    <a:pt x="7366" y="3323717"/>
                    <a:pt x="0" y="3313684"/>
                    <a:pt x="0" y="3302254"/>
                  </a:cubicBezTo>
                  <a:moveTo>
                    <a:pt x="51181" y="3302254"/>
                  </a:moveTo>
                  <a:lnTo>
                    <a:pt x="25527" y="3302254"/>
                  </a:lnTo>
                  <a:lnTo>
                    <a:pt x="4064" y="3288538"/>
                  </a:lnTo>
                  <a:cubicBezTo>
                    <a:pt x="10160" y="3279013"/>
                    <a:pt x="21844" y="3274568"/>
                    <a:pt x="32766" y="3277743"/>
                  </a:cubicBezTo>
                  <a:cubicBezTo>
                    <a:pt x="43688" y="3280918"/>
                    <a:pt x="51181" y="3290951"/>
                    <a:pt x="51181" y="3302254"/>
                  </a:cubicBezTo>
                  <a:cubicBezTo>
                    <a:pt x="51181" y="5097780"/>
                    <a:pt x="1506601" y="6553454"/>
                    <a:pt x="3302000" y="6553454"/>
                  </a:cubicBezTo>
                  <a:cubicBezTo>
                    <a:pt x="5097399" y="6553454"/>
                    <a:pt x="6552819" y="5097907"/>
                    <a:pt x="6552819" y="3302254"/>
                  </a:cubicBezTo>
                  <a:lnTo>
                    <a:pt x="6578346" y="3302254"/>
                  </a:lnTo>
                  <a:lnTo>
                    <a:pt x="6552819" y="3302254"/>
                  </a:lnTo>
                  <a:cubicBezTo>
                    <a:pt x="6552819" y="1506728"/>
                    <a:pt x="5097399" y="51054"/>
                    <a:pt x="3302000" y="51054"/>
                  </a:cubicBezTo>
                  <a:lnTo>
                    <a:pt x="3302000" y="25527"/>
                  </a:lnTo>
                  <a:lnTo>
                    <a:pt x="3302000" y="51181"/>
                  </a:lnTo>
                  <a:cubicBezTo>
                    <a:pt x="1506601" y="51181"/>
                    <a:pt x="51181" y="1506728"/>
                    <a:pt x="51181" y="3302381"/>
                  </a:cubicBezTo>
                  <a:close/>
                </a:path>
              </a:pathLst>
            </a:custGeom>
            <a:solidFill>
              <a:srgbClr val="999999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10860907" y="4278313"/>
            <a:ext cx="1309387" cy="2127228"/>
            <a:chOff x="0" y="0"/>
            <a:chExt cx="1346400" cy="218736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1346454" cy="2187448"/>
            </a:xfrm>
            <a:custGeom>
              <a:avLst/>
              <a:gdLst/>
              <a:ahLst/>
              <a:cxnLst/>
              <a:rect l="l" t="t" r="r" b="b"/>
              <a:pathLst>
                <a:path w="1346454" h="2187448">
                  <a:moveTo>
                    <a:pt x="1346454" y="472694"/>
                  </a:moveTo>
                  <a:cubicBezTo>
                    <a:pt x="993775" y="0"/>
                    <a:pt x="993775" y="0"/>
                    <a:pt x="993775" y="0"/>
                  </a:cubicBezTo>
                  <a:cubicBezTo>
                    <a:pt x="697230" y="216281"/>
                    <a:pt x="464820" y="512826"/>
                    <a:pt x="328549" y="849249"/>
                  </a:cubicBezTo>
                  <a:cubicBezTo>
                    <a:pt x="0" y="897382"/>
                    <a:pt x="0" y="897382"/>
                    <a:pt x="0" y="897382"/>
                  </a:cubicBezTo>
                  <a:cubicBezTo>
                    <a:pt x="240411" y="1129792"/>
                    <a:pt x="240411" y="1129792"/>
                    <a:pt x="240411" y="1129792"/>
                  </a:cubicBezTo>
                  <a:cubicBezTo>
                    <a:pt x="208407" y="1274064"/>
                    <a:pt x="184277" y="1426210"/>
                    <a:pt x="184277" y="1586484"/>
                  </a:cubicBezTo>
                  <a:cubicBezTo>
                    <a:pt x="184277" y="1794764"/>
                    <a:pt x="216281" y="1995170"/>
                    <a:pt x="280416" y="2187448"/>
                  </a:cubicBezTo>
                  <a:cubicBezTo>
                    <a:pt x="865505" y="1971040"/>
                    <a:pt x="865505" y="1971040"/>
                    <a:pt x="865505" y="1971040"/>
                  </a:cubicBezTo>
                  <a:cubicBezTo>
                    <a:pt x="817372" y="1842897"/>
                    <a:pt x="793369" y="1698625"/>
                    <a:pt x="793369" y="1554353"/>
                  </a:cubicBezTo>
                  <a:cubicBezTo>
                    <a:pt x="793369" y="1105662"/>
                    <a:pt x="1017778" y="713105"/>
                    <a:pt x="1346327" y="472694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7" name="Group 7"/>
          <p:cNvGrpSpPr/>
          <p:nvPr/>
        </p:nvGrpSpPr>
        <p:grpSpPr>
          <a:xfrm>
            <a:off x="11132587" y="6192678"/>
            <a:ext cx="1806533" cy="1522249"/>
            <a:chOff x="0" y="0"/>
            <a:chExt cx="1857600" cy="156528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1857629" cy="1565275"/>
            </a:xfrm>
            <a:custGeom>
              <a:avLst/>
              <a:gdLst/>
              <a:ahLst/>
              <a:cxnLst/>
              <a:rect l="l" t="t" r="r" b="b"/>
              <a:pathLst>
                <a:path w="1857629" h="1565275">
                  <a:moveTo>
                    <a:pt x="1857629" y="931164"/>
                  </a:moveTo>
                  <a:cubicBezTo>
                    <a:pt x="1265047" y="931164"/>
                    <a:pt x="760603" y="537845"/>
                    <a:pt x="584454" y="0"/>
                  </a:cubicBezTo>
                  <a:cubicBezTo>
                    <a:pt x="0" y="216789"/>
                    <a:pt x="0" y="216789"/>
                    <a:pt x="0" y="216789"/>
                  </a:cubicBezTo>
                  <a:cubicBezTo>
                    <a:pt x="112141" y="569976"/>
                    <a:pt x="320294" y="874903"/>
                    <a:pt x="592455" y="1099693"/>
                  </a:cubicBezTo>
                  <a:cubicBezTo>
                    <a:pt x="536448" y="1444879"/>
                    <a:pt x="536448" y="1444879"/>
                    <a:pt x="536448" y="1444879"/>
                  </a:cubicBezTo>
                  <a:cubicBezTo>
                    <a:pt x="840740" y="1284351"/>
                    <a:pt x="840740" y="1284351"/>
                    <a:pt x="840740" y="1284351"/>
                  </a:cubicBezTo>
                  <a:cubicBezTo>
                    <a:pt x="1137031" y="1461008"/>
                    <a:pt x="1489329" y="1565275"/>
                    <a:pt x="1857629" y="1565275"/>
                  </a:cubicBezTo>
                  <a:lnTo>
                    <a:pt x="1857629" y="931164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9" name="Group 9"/>
          <p:cNvGrpSpPr/>
          <p:nvPr/>
        </p:nvGrpSpPr>
        <p:grpSpPr>
          <a:xfrm>
            <a:off x="12939120" y="6192678"/>
            <a:ext cx="1806533" cy="1522249"/>
            <a:chOff x="0" y="0"/>
            <a:chExt cx="1857600" cy="156528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1857629" cy="1565275"/>
            </a:xfrm>
            <a:custGeom>
              <a:avLst/>
              <a:gdLst/>
              <a:ahLst/>
              <a:cxnLst/>
              <a:rect l="l" t="t" r="r" b="b"/>
              <a:pathLst>
                <a:path w="1857629" h="1565275">
                  <a:moveTo>
                    <a:pt x="1857629" y="216789"/>
                  </a:moveTo>
                  <a:cubicBezTo>
                    <a:pt x="1273048" y="0"/>
                    <a:pt x="1273048" y="0"/>
                    <a:pt x="1273048" y="0"/>
                  </a:cubicBezTo>
                  <a:cubicBezTo>
                    <a:pt x="1096899" y="537845"/>
                    <a:pt x="592455" y="931164"/>
                    <a:pt x="0" y="931164"/>
                  </a:cubicBezTo>
                  <a:cubicBezTo>
                    <a:pt x="0" y="1565275"/>
                    <a:pt x="0" y="1565275"/>
                    <a:pt x="0" y="1565275"/>
                  </a:cubicBezTo>
                  <a:cubicBezTo>
                    <a:pt x="368300" y="1565275"/>
                    <a:pt x="720598" y="1460881"/>
                    <a:pt x="1016889" y="1284351"/>
                  </a:cubicBezTo>
                  <a:cubicBezTo>
                    <a:pt x="1321181" y="1444879"/>
                    <a:pt x="1321181" y="1444879"/>
                    <a:pt x="1321181" y="1444879"/>
                  </a:cubicBezTo>
                  <a:cubicBezTo>
                    <a:pt x="1265174" y="1099693"/>
                    <a:pt x="1265174" y="1099693"/>
                    <a:pt x="1265174" y="1099693"/>
                  </a:cubicBezTo>
                  <a:cubicBezTo>
                    <a:pt x="1537462" y="874903"/>
                    <a:pt x="1745615" y="569849"/>
                    <a:pt x="1857629" y="216662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1" name="Group 11"/>
          <p:cNvGrpSpPr/>
          <p:nvPr/>
        </p:nvGrpSpPr>
        <p:grpSpPr>
          <a:xfrm>
            <a:off x="13710748" y="4278313"/>
            <a:ext cx="1306586" cy="2127228"/>
            <a:chOff x="0" y="0"/>
            <a:chExt cx="1343520" cy="218736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1343533" cy="2187321"/>
            </a:xfrm>
            <a:custGeom>
              <a:avLst/>
              <a:gdLst/>
              <a:ahLst/>
              <a:cxnLst/>
              <a:rect l="l" t="t" r="r" b="b"/>
              <a:pathLst>
                <a:path w="1343533" h="2187321">
                  <a:moveTo>
                    <a:pt x="1343533" y="897382"/>
                  </a:moveTo>
                  <a:cubicBezTo>
                    <a:pt x="1015619" y="849249"/>
                    <a:pt x="1015619" y="849249"/>
                    <a:pt x="1015619" y="849249"/>
                  </a:cubicBezTo>
                  <a:cubicBezTo>
                    <a:pt x="879729" y="512826"/>
                    <a:pt x="647827" y="216281"/>
                    <a:pt x="351917" y="0"/>
                  </a:cubicBezTo>
                  <a:cubicBezTo>
                    <a:pt x="0" y="472694"/>
                    <a:pt x="0" y="472694"/>
                    <a:pt x="0" y="472694"/>
                  </a:cubicBezTo>
                  <a:cubicBezTo>
                    <a:pt x="327914" y="713105"/>
                    <a:pt x="551815" y="1105662"/>
                    <a:pt x="551815" y="1554353"/>
                  </a:cubicBezTo>
                  <a:cubicBezTo>
                    <a:pt x="551815" y="1698625"/>
                    <a:pt x="527812" y="1842770"/>
                    <a:pt x="479806" y="1971040"/>
                  </a:cubicBezTo>
                  <a:cubicBezTo>
                    <a:pt x="1063625" y="2187321"/>
                    <a:pt x="1063625" y="2187321"/>
                    <a:pt x="1063625" y="2187321"/>
                  </a:cubicBezTo>
                  <a:cubicBezTo>
                    <a:pt x="1127633" y="1995043"/>
                    <a:pt x="1159637" y="1794764"/>
                    <a:pt x="1159637" y="1586357"/>
                  </a:cubicBezTo>
                  <a:cubicBezTo>
                    <a:pt x="1159637" y="1426083"/>
                    <a:pt x="1135634" y="1273937"/>
                    <a:pt x="1103630" y="1129665"/>
                  </a:cubicBezTo>
                  <a:lnTo>
                    <a:pt x="1343533" y="897255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3" name="Group 13"/>
          <p:cNvGrpSpPr/>
          <p:nvPr/>
        </p:nvGrpSpPr>
        <p:grpSpPr>
          <a:xfrm>
            <a:off x="11824391" y="3645326"/>
            <a:ext cx="2229458" cy="1093023"/>
            <a:chOff x="0" y="0"/>
            <a:chExt cx="2292480" cy="1123920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2292477" cy="1123950"/>
            </a:xfrm>
            <a:custGeom>
              <a:avLst/>
              <a:gdLst/>
              <a:ahLst/>
              <a:cxnLst/>
              <a:rect l="l" t="t" r="r" b="b"/>
              <a:pathLst>
                <a:path w="2292477" h="1123950">
                  <a:moveTo>
                    <a:pt x="1290574" y="280924"/>
                  </a:moveTo>
                  <a:cubicBezTo>
                    <a:pt x="1146302" y="0"/>
                    <a:pt x="1146302" y="0"/>
                    <a:pt x="1146302" y="0"/>
                  </a:cubicBezTo>
                  <a:cubicBezTo>
                    <a:pt x="1001903" y="280924"/>
                    <a:pt x="1001903" y="280924"/>
                    <a:pt x="1001903" y="280924"/>
                  </a:cubicBezTo>
                  <a:cubicBezTo>
                    <a:pt x="625221" y="313055"/>
                    <a:pt x="280543" y="441579"/>
                    <a:pt x="0" y="650240"/>
                  </a:cubicBezTo>
                  <a:cubicBezTo>
                    <a:pt x="352679" y="1123950"/>
                    <a:pt x="352679" y="1123950"/>
                    <a:pt x="352679" y="1123950"/>
                  </a:cubicBezTo>
                  <a:cubicBezTo>
                    <a:pt x="577088" y="955294"/>
                    <a:pt x="849630" y="859028"/>
                    <a:pt x="1146302" y="859028"/>
                  </a:cubicBezTo>
                  <a:cubicBezTo>
                    <a:pt x="1442974" y="859028"/>
                    <a:pt x="1715389" y="955421"/>
                    <a:pt x="1939798" y="1123950"/>
                  </a:cubicBezTo>
                  <a:cubicBezTo>
                    <a:pt x="2292477" y="650240"/>
                    <a:pt x="2292477" y="650240"/>
                    <a:pt x="2292477" y="650240"/>
                  </a:cubicBezTo>
                  <a:cubicBezTo>
                    <a:pt x="2011934" y="441452"/>
                    <a:pt x="1667256" y="313055"/>
                    <a:pt x="1290574" y="280924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5" name="Group 15"/>
          <p:cNvGrpSpPr/>
          <p:nvPr/>
        </p:nvGrpSpPr>
        <p:grpSpPr>
          <a:xfrm>
            <a:off x="11997342" y="4837078"/>
            <a:ext cx="1883556" cy="1883556"/>
            <a:chOff x="0" y="0"/>
            <a:chExt cx="1936800" cy="193680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1936750" cy="1936750"/>
            </a:xfrm>
            <a:custGeom>
              <a:avLst/>
              <a:gdLst/>
              <a:ahLst/>
              <a:cxnLst/>
              <a:rect l="l" t="t" r="r" b="b"/>
              <a:pathLst>
                <a:path w="1936750" h="1936750">
                  <a:moveTo>
                    <a:pt x="0" y="968375"/>
                  </a:moveTo>
                  <a:cubicBezTo>
                    <a:pt x="0" y="433578"/>
                    <a:pt x="433578" y="0"/>
                    <a:pt x="968375" y="0"/>
                  </a:cubicBezTo>
                  <a:cubicBezTo>
                    <a:pt x="1503172" y="0"/>
                    <a:pt x="1936750" y="433578"/>
                    <a:pt x="1936750" y="968375"/>
                  </a:cubicBezTo>
                  <a:cubicBezTo>
                    <a:pt x="1936750" y="1503172"/>
                    <a:pt x="1503172" y="1936750"/>
                    <a:pt x="968375" y="1936750"/>
                  </a:cubicBezTo>
                  <a:cubicBezTo>
                    <a:pt x="433578" y="1936750"/>
                    <a:pt x="0" y="1503172"/>
                    <a:pt x="0" y="968375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7" name="Group 17"/>
          <p:cNvGrpSpPr/>
          <p:nvPr/>
        </p:nvGrpSpPr>
        <p:grpSpPr>
          <a:xfrm>
            <a:off x="12238213" y="1950126"/>
            <a:ext cx="1404615" cy="1404615"/>
            <a:chOff x="0" y="0"/>
            <a:chExt cx="1444320" cy="1444320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1444244" cy="1444244"/>
            </a:xfrm>
            <a:custGeom>
              <a:avLst/>
              <a:gdLst/>
              <a:ahLst/>
              <a:cxnLst/>
              <a:rect l="l" t="t" r="r" b="b"/>
              <a:pathLst>
                <a:path w="1444244" h="1444244">
                  <a:moveTo>
                    <a:pt x="0" y="722122"/>
                  </a:moveTo>
                  <a:cubicBezTo>
                    <a:pt x="0" y="323342"/>
                    <a:pt x="323342" y="0"/>
                    <a:pt x="722122" y="0"/>
                  </a:cubicBezTo>
                  <a:cubicBezTo>
                    <a:pt x="1120902" y="0"/>
                    <a:pt x="1444244" y="323342"/>
                    <a:pt x="1444244" y="722122"/>
                  </a:cubicBezTo>
                  <a:cubicBezTo>
                    <a:pt x="1444244" y="1120902"/>
                    <a:pt x="1120902" y="1444244"/>
                    <a:pt x="722122" y="1444244"/>
                  </a:cubicBezTo>
                  <a:cubicBezTo>
                    <a:pt x="323342" y="1444244"/>
                    <a:pt x="0" y="1121029"/>
                    <a:pt x="0" y="722122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19" name="Group 19"/>
          <p:cNvGrpSpPr/>
          <p:nvPr/>
        </p:nvGrpSpPr>
        <p:grpSpPr>
          <a:xfrm>
            <a:off x="15335228" y="4145274"/>
            <a:ext cx="1404615" cy="1405315"/>
            <a:chOff x="0" y="0"/>
            <a:chExt cx="1444320" cy="1445040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1444244" cy="1445006"/>
            </a:xfrm>
            <a:custGeom>
              <a:avLst/>
              <a:gdLst/>
              <a:ahLst/>
              <a:cxnLst/>
              <a:rect l="l" t="t" r="r" b="b"/>
              <a:pathLst>
                <a:path w="1444244" h="1445006">
                  <a:moveTo>
                    <a:pt x="0" y="722503"/>
                  </a:moveTo>
                  <a:cubicBezTo>
                    <a:pt x="0" y="323469"/>
                    <a:pt x="323342" y="0"/>
                    <a:pt x="722122" y="0"/>
                  </a:cubicBezTo>
                  <a:cubicBezTo>
                    <a:pt x="1120902" y="0"/>
                    <a:pt x="1444244" y="323469"/>
                    <a:pt x="1444244" y="722503"/>
                  </a:cubicBezTo>
                  <a:cubicBezTo>
                    <a:pt x="1444244" y="1121537"/>
                    <a:pt x="1120902" y="1445006"/>
                    <a:pt x="722122" y="1445006"/>
                  </a:cubicBezTo>
                  <a:cubicBezTo>
                    <a:pt x="323342" y="1445006"/>
                    <a:pt x="0" y="1121537"/>
                    <a:pt x="0" y="722503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21" name="Group 21"/>
          <p:cNvGrpSpPr/>
          <p:nvPr/>
        </p:nvGrpSpPr>
        <p:grpSpPr>
          <a:xfrm>
            <a:off x="14180587" y="7721229"/>
            <a:ext cx="1404615" cy="1404615"/>
            <a:chOff x="0" y="0"/>
            <a:chExt cx="1444320" cy="1444320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1444244" cy="1444244"/>
            </a:xfrm>
            <a:custGeom>
              <a:avLst/>
              <a:gdLst/>
              <a:ahLst/>
              <a:cxnLst/>
              <a:rect l="l" t="t" r="r" b="b"/>
              <a:pathLst>
                <a:path w="1444244" h="1444244">
                  <a:moveTo>
                    <a:pt x="0" y="722122"/>
                  </a:moveTo>
                  <a:cubicBezTo>
                    <a:pt x="0" y="323342"/>
                    <a:pt x="323342" y="0"/>
                    <a:pt x="722122" y="0"/>
                  </a:cubicBezTo>
                  <a:cubicBezTo>
                    <a:pt x="1120902" y="0"/>
                    <a:pt x="1444244" y="323342"/>
                    <a:pt x="1444244" y="722122"/>
                  </a:cubicBezTo>
                  <a:cubicBezTo>
                    <a:pt x="1444244" y="1120902"/>
                    <a:pt x="1120902" y="1444244"/>
                    <a:pt x="722122" y="1444244"/>
                  </a:cubicBezTo>
                  <a:cubicBezTo>
                    <a:pt x="323342" y="1444244"/>
                    <a:pt x="0" y="1121029"/>
                    <a:pt x="0" y="722122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23" name="Group 23"/>
          <p:cNvGrpSpPr/>
          <p:nvPr/>
        </p:nvGrpSpPr>
        <p:grpSpPr>
          <a:xfrm>
            <a:off x="10376364" y="7721229"/>
            <a:ext cx="1404615" cy="1404615"/>
            <a:chOff x="0" y="0"/>
            <a:chExt cx="1444320" cy="1444320"/>
          </a:xfrm>
        </p:grpSpPr>
        <p:sp>
          <p:nvSpPr>
            <p:cNvPr id="24" name="Freeform 24"/>
            <p:cNvSpPr/>
            <p:nvPr/>
          </p:nvSpPr>
          <p:spPr>
            <a:xfrm>
              <a:off x="0" y="0"/>
              <a:ext cx="1444244" cy="1444244"/>
            </a:xfrm>
            <a:custGeom>
              <a:avLst/>
              <a:gdLst/>
              <a:ahLst/>
              <a:cxnLst/>
              <a:rect l="l" t="t" r="r" b="b"/>
              <a:pathLst>
                <a:path w="1444244" h="1444244">
                  <a:moveTo>
                    <a:pt x="0" y="722122"/>
                  </a:moveTo>
                  <a:cubicBezTo>
                    <a:pt x="0" y="323342"/>
                    <a:pt x="323342" y="0"/>
                    <a:pt x="722122" y="0"/>
                  </a:cubicBezTo>
                  <a:cubicBezTo>
                    <a:pt x="1120902" y="0"/>
                    <a:pt x="1444244" y="323342"/>
                    <a:pt x="1444244" y="722122"/>
                  </a:cubicBezTo>
                  <a:cubicBezTo>
                    <a:pt x="1444244" y="1120902"/>
                    <a:pt x="1120902" y="1444244"/>
                    <a:pt x="722122" y="1444244"/>
                  </a:cubicBezTo>
                  <a:cubicBezTo>
                    <a:pt x="323342" y="1444244"/>
                    <a:pt x="0" y="1121029"/>
                    <a:pt x="0" y="722122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grpSp>
        <p:nvGrpSpPr>
          <p:cNvPr id="25" name="Group 25"/>
          <p:cNvGrpSpPr/>
          <p:nvPr/>
        </p:nvGrpSpPr>
        <p:grpSpPr>
          <a:xfrm>
            <a:off x="9144000" y="4145274"/>
            <a:ext cx="1405315" cy="1405315"/>
            <a:chOff x="0" y="0"/>
            <a:chExt cx="1445040" cy="1445040"/>
          </a:xfrm>
        </p:grpSpPr>
        <p:sp>
          <p:nvSpPr>
            <p:cNvPr id="26" name="Freeform 26"/>
            <p:cNvSpPr/>
            <p:nvPr/>
          </p:nvSpPr>
          <p:spPr>
            <a:xfrm>
              <a:off x="0" y="0"/>
              <a:ext cx="1445006" cy="1445006"/>
            </a:xfrm>
            <a:custGeom>
              <a:avLst/>
              <a:gdLst/>
              <a:ahLst/>
              <a:cxnLst/>
              <a:rect l="l" t="t" r="r" b="b"/>
              <a:pathLst>
                <a:path w="1445006" h="1445006">
                  <a:moveTo>
                    <a:pt x="0" y="722503"/>
                  </a:moveTo>
                  <a:cubicBezTo>
                    <a:pt x="0" y="323469"/>
                    <a:pt x="323469" y="0"/>
                    <a:pt x="722503" y="0"/>
                  </a:cubicBezTo>
                  <a:cubicBezTo>
                    <a:pt x="1121537" y="0"/>
                    <a:pt x="1445006" y="323469"/>
                    <a:pt x="1445006" y="722503"/>
                  </a:cubicBezTo>
                  <a:cubicBezTo>
                    <a:pt x="1445006" y="1121537"/>
                    <a:pt x="1121537" y="1445006"/>
                    <a:pt x="722503" y="1445006"/>
                  </a:cubicBezTo>
                  <a:cubicBezTo>
                    <a:pt x="323469" y="1445006"/>
                    <a:pt x="0" y="1121537"/>
                    <a:pt x="0" y="722503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</p:grpSp>
      <p:sp>
        <p:nvSpPr>
          <p:cNvPr id="27" name="TextBox 27"/>
          <p:cNvSpPr txBox="1"/>
          <p:nvPr/>
        </p:nvSpPr>
        <p:spPr>
          <a:xfrm>
            <a:off x="1323900" y="1585199"/>
            <a:ext cx="6015768" cy="8983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7291"/>
              </a:lnSpc>
              <a:spcBef>
                <a:spcPct val="0"/>
              </a:spcBef>
            </a:pPr>
            <a:r>
              <a:rPr lang="en-US" sz="5283" u="none" strike="noStrike" spc="184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STRATEGIES</a:t>
            </a:r>
          </a:p>
        </p:txBody>
      </p:sp>
      <p:sp>
        <p:nvSpPr>
          <p:cNvPr id="28" name="Freeform 28"/>
          <p:cNvSpPr/>
          <p:nvPr/>
        </p:nvSpPr>
        <p:spPr>
          <a:xfrm>
            <a:off x="12541476" y="5292915"/>
            <a:ext cx="795288" cy="629119"/>
          </a:xfrm>
          <a:custGeom>
            <a:avLst/>
            <a:gdLst/>
            <a:ahLst/>
            <a:cxnLst/>
            <a:rect l="l" t="t" r="r" b="b"/>
            <a:pathLst>
              <a:path w="795288" h="629119">
                <a:moveTo>
                  <a:pt x="0" y="0"/>
                </a:moveTo>
                <a:lnTo>
                  <a:pt x="795288" y="0"/>
                </a:lnTo>
                <a:lnTo>
                  <a:pt x="795288" y="629119"/>
                </a:lnTo>
                <a:lnTo>
                  <a:pt x="0" y="629119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29" name="TextBox 29"/>
          <p:cNvSpPr txBox="1"/>
          <p:nvPr/>
        </p:nvSpPr>
        <p:spPr>
          <a:xfrm>
            <a:off x="12162976" y="5979047"/>
            <a:ext cx="1552289" cy="2857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16"/>
              </a:lnSpc>
            </a:pPr>
            <a:r>
              <a:rPr lang="en-US" sz="1847" spc="-36">
                <a:solidFill>
                  <a:srgbClr val="F2F4F5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BORCELLE</a:t>
            </a:r>
          </a:p>
        </p:txBody>
      </p:sp>
      <p:sp>
        <p:nvSpPr>
          <p:cNvPr id="30" name="Freeform 30"/>
          <p:cNvSpPr/>
          <p:nvPr/>
        </p:nvSpPr>
        <p:spPr>
          <a:xfrm>
            <a:off x="14486118" y="8030286"/>
            <a:ext cx="849110" cy="827496"/>
          </a:xfrm>
          <a:custGeom>
            <a:avLst/>
            <a:gdLst/>
            <a:ahLst/>
            <a:cxnLst/>
            <a:rect l="l" t="t" r="r" b="b"/>
            <a:pathLst>
              <a:path w="849110" h="827496">
                <a:moveTo>
                  <a:pt x="0" y="0"/>
                </a:moveTo>
                <a:lnTo>
                  <a:pt x="849110" y="0"/>
                </a:lnTo>
                <a:lnTo>
                  <a:pt x="849110" y="827497"/>
                </a:lnTo>
                <a:lnTo>
                  <a:pt x="0" y="827497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31" name="Freeform 31"/>
          <p:cNvSpPr/>
          <p:nvPr/>
        </p:nvSpPr>
        <p:spPr>
          <a:xfrm>
            <a:off x="15632519" y="4364397"/>
            <a:ext cx="810032" cy="779103"/>
          </a:xfrm>
          <a:custGeom>
            <a:avLst/>
            <a:gdLst/>
            <a:ahLst/>
            <a:cxnLst/>
            <a:rect l="l" t="t" r="r" b="b"/>
            <a:pathLst>
              <a:path w="810032" h="779103">
                <a:moveTo>
                  <a:pt x="0" y="0"/>
                </a:moveTo>
                <a:lnTo>
                  <a:pt x="810032" y="0"/>
                </a:lnTo>
                <a:lnTo>
                  <a:pt x="810032" y="779103"/>
                </a:lnTo>
                <a:lnTo>
                  <a:pt x="0" y="77910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32" name="Freeform 32"/>
          <p:cNvSpPr/>
          <p:nvPr/>
        </p:nvSpPr>
        <p:spPr>
          <a:xfrm>
            <a:off x="10628887" y="7989290"/>
            <a:ext cx="899568" cy="868492"/>
          </a:xfrm>
          <a:custGeom>
            <a:avLst/>
            <a:gdLst/>
            <a:ahLst/>
            <a:cxnLst/>
            <a:rect l="l" t="t" r="r" b="b"/>
            <a:pathLst>
              <a:path w="899568" h="868492">
                <a:moveTo>
                  <a:pt x="0" y="0"/>
                </a:moveTo>
                <a:lnTo>
                  <a:pt x="899568" y="0"/>
                </a:lnTo>
                <a:lnTo>
                  <a:pt x="899568" y="868493"/>
                </a:lnTo>
                <a:lnTo>
                  <a:pt x="0" y="86849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33" name="Freeform 33"/>
          <p:cNvSpPr/>
          <p:nvPr/>
        </p:nvSpPr>
        <p:spPr>
          <a:xfrm>
            <a:off x="12541476" y="2268825"/>
            <a:ext cx="787256" cy="767216"/>
          </a:xfrm>
          <a:custGeom>
            <a:avLst/>
            <a:gdLst/>
            <a:ahLst/>
            <a:cxnLst/>
            <a:rect l="l" t="t" r="r" b="b"/>
            <a:pathLst>
              <a:path w="787256" h="767216">
                <a:moveTo>
                  <a:pt x="0" y="0"/>
                </a:moveTo>
                <a:lnTo>
                  <a:pt x="787256" y="0"/>
                </a:lnTo>
                <a:lnTo>
                  <a:pt x="787256" y="767216"/>
                </a:lnTo>
                <a:lnTo>
                  <a:pt x="0" y="76721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</p:sp>
      <p:sp>
        <p:nvSpPr>
          <p:cNvPr id="34" name="Freeform 34"/>
          <p:cNvSpPr/>
          <p:nvPr/>
        </p:nvSpPr>
        <p:spPr>
          <a:xfrm>
            <a:off x="9357344" y="4301671"/>
            <a:ext cx="978628" cy="991244"/>
          </a:xfrm>
          <a:custGeom>
            <a:avLst/>
            <a:gdLst/>
            <a:ahLst/>
            <a:cxnLst/>
            <a:rect l="l" t="t" r="r" b="b"/>
            <a:pathLst>
              <a:path w="978628" h="991244">
                <a:moveTo>
                  <a:pt x="0" y="0"/>
                </a:moveTo>
                <a:lnTo>
                  <a:pt x="978627" y="0"/>
                </a:lnTo>
                <a:lnTo>
                  <a:pt x="978627" y="991244"/>
                </a:lnTo>
                <a:lnTo>
                  <a:pt x="0" y="991244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</p:sp>
      <p:sp>
        <p:nvSpPr>
          <p:cNvPr id="35" name="TextBox 35"/>
          <p:cNvSpPr txBox="1"/>
          <p:nvPr/>
        </p:nvSpPr>
        <p:spPr>
          <a:xfrm>
            <a:off x="1451906" y="3875313"/>
            <a:ext cx="2246916" cy="3483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641"/>
              </a:lnSpc>
              <a:spcBef>
                <a:spcPct val="0"/>
              </a:spcBef>
            </a:pPr>
            <a:r>
              <a:rPr lang="en-US" sz="1887" spc="-37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Planning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1451906" y="4313510"/>
            <a:ext cx="2246916" cy="12549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05"/>
              </a:lnSpc>
              <a:spcBef>
                <a:spcPct val="0"/>
              </a:spcBef>
            </a:pPr>
            <a:r>
              <a:rPr lang="en-US" sz="1218">
                <a:solidFill>
                  <a:srgbClr val="01010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2126021" y="2940791"/>
            <a:ext cx="898685" cy="892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975"/>
              </a:lnSpc>
              <a:spcBef>
                <a:spcPct val="0"/>
              </a:spcBef>
            </a:pPr>
            <a:r>
              <a:rPr lang="en-US" sz="4982" spc="-99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01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4056687" y="3875313"/>
            <a:ext cx="2246916" cy="3483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641"/>
              </a:lnSpc>
              <a:spcBef>
                <a:spcPct val="0"/>
              </a:spcBef>
            </a:pPr>
            <a:r>
              <a:rPr lang="en-US" sz="1887" spc="-37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Competitive 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4056687" y="4313510"/>
            <a:ext cx="2246916" cy="12549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05"/>
              </a:lnSpc>
              <a:spcBef>
                <a:spcPct val="0"/>
              </a:spcBef>
            </a:pPr>
            <a:r>
              <a:rPr lang="en-US" sz="1218">
                <a:solidFill>
                  <a:srgbClr val="01010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4730802" y="2940791"/>
            <a:ext cx="898685" cy="892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975"/>
              </a:lnSpc>
              <a:spcBef>
                <a:spcPct val="0"/>
              </a:spcBef>
            </a:pPr>
            <a:r>
              <a:rPr lang="en-US" sz="4982" spc="-99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02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1451906" y="6827843"/>
            <a:ext cx="2246916" cy="3483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641"/>
              </a:lnSpc>
              <a:spcBef>
                <a:spcPct val="0"/>
              </a:spcBef>
            </a:pPr>
            <a:r>
              <a:rPr lang="en-US" sz="1887" spc="-37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Analysis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1451906" y="7266040"/>
            <a:ext cx="2246916" cy="12549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05"/>
              </a:lnSpc>
              <a:spcBef>
                <a:spcPct val="0"/>
              </a:spcBef>
            </a:pPr>
            <a:r>
              <a:rPr lang="en-US" sz="1218">
                <a:solidFill>
                  <a:srgbClr val="01010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2126021" y="5893322"/>
            <a:ext cx="898685" cy="892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975"/>
              </a:lnSpc>
              <a:spcBef>
                <a:spcPct val="0"/>
              </a:spcBef>
            </a:pPr>
            <a:r>
              <a:rPr lang="en-US" sz="4982" spc="-99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03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4056687" y="6827843"/>
            <a:ext cx="2246916" cy="3483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641"/>
              </a:lnSpc>
              <a:spcBef>
                <a:spcPct val="0"/>
              </a:spcBef>
            </a:pPr>
            <a:r>
              <a:rPr lang="en-US" sz="1887" spc="-37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Execution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4056687" y="7266040"/>
            <a:ext cx="2246916" cy="12549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05"/>
              </a:lnSpc>
              <a:spcBef>
                <a:spcPct val="0"/>
              </a:spcBef>
            </a:pPr>
            <a:r>
              <a:rPr lang="en-US" sz="1218">
                <a:solidFill>
                  <a:srgbClr val="01010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4730802" y="5893322"/>
            <a:ext cx="898685" cy="892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975"/>
              </a:lnSpc>
              <a:spcBef>
                <a:spcPct val="0"/>
              </a:spcBef>
            </a:pPr>
            <a:r>
              <a:rPr lang="en-US" sz="4982" spc="-99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04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6665553" y="6867690"/>
            <a:ext cx="2246916" cy="3483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641"/>
              </a:lnSpc>
              <a:spcBef>
                <a:spcPct val="0"/>
              </a:spcBef>
            </a:pPr>
            <a:r>
              <a:rPr lang="en-US" sz="1887" spc="-37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Growth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6665553" y="7305886"/>
            <a:ext cx="2246916" cy="12549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05"/>
              </a:lnSpc>
              <a:spcBef>
                <a:spcPct val="0"/>
              </a:spcBef>
            </a:pPr>
            <a:r>
              <a:rPr lang="en-US" sz="1218">
                <a:solidFill>
                  <a:srgbClr val="01010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7339668" y="5933168"/>
            <a:ext cx="898685" cy="892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975"/>
              </a:lnSpc>
              <a:spcBef>
                <a:spcPct val="0"/>
              </a:spcBef>
            </a:pPr>
            <a:r>
              <a:rPr lang="en-US" sz="4982" spc="-99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05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4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764344">
            <a:off x="7499531" y="-923721"/>
            <a:ext cx="1088513" cy="11908815"/>
            <a:chOff x="0" y="0"/>
            <a:chExt cx="286687" cy="3136478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286687" cy="3136478"/>
            </a:xfrm>
            <a:custGeom>
              <a:avLst/>
              <a:gdLst/>
              <a:ahLst/>
              <a:cxnLst/>
              <a:rect l="l" t="t" r="r" b="b"/>
              <a:pathLst>
                <a:path w="286687" h="3136478">
                  <a:moveTo>
                    <a:pt x="0" y="0"/>
                  </a:moveTo>
                  <a:lnTo>
                    <a:pt x="286687" y="0"/>
                  </a:lnTo>
                  <a:lnTo>
                    <a:pt x="286687" y="3136478"/>
                  </a:lnTo>
                  <a:lnTo>
                    <a:pt x="0" y="3136478"/>
                  </a:lnTo>
                  <a:close/>
                </a:path>
              </a:pathLst>
            </a:custGeom>
            <a:gradFill rotWithShape="1">
              <a:gsLst>
                <a:gs pos="0">
                  <a:srgbClr val="696969">
                    <a:alpha val="41040"/>
                  </a:srgbClr>
                </a:gs>
                <a:gs pos="33333">
                  <a:srgbClr val="B4B4B4">
                    <a:alpha val="47025"/>
                  </a:srgbClr>
                </a:gs>
                <a:gs pos="66667">
                  <a:srgbClr val="EEEEEE">
                    <a:alpha val="40185"/>
                  </a:srgbClr>
                </a:gs>
                <a:gs pos="100000">
                  <a:srgbClr val="FBFBFB">
                    <a:alpha val="12540"/>
                  </a:srgbClr>
                </a:gs>
              </a:gsLst>
              <a:lin ang="0"/>
            </a:gradFill>
            <a:ln cap="sq">
              <a:noFill/>
              <a:prstDash val="solid"/>
              <a:miter/>
            </a:ln>
          </p:spPr>
        </p:sp>
        <p:sp>
          <p:nvSpPr>
            <p:cNvPr id="4" name="TextBox 4"/>
            <p:cNvSpPr txBox="1"/>
            <p:nvPr/>
          </p:nvSpPr>
          <p:spPr>
            <a:xfrm>
              <a:off x="0" y="-19050"/>
              <a:ext cx="286687" cy="3155528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5" name="Group 5"/>
          <p:cNvGrpSpPr>
            <a:grpSpLocks noChangeAspect="1"/>
          </p:cNvGrpSpPr>
          <p:nvPr/>
        </p:nvGrpSpPr>
        <p:grpSpPr>
          <a:xfrm>
            <a:off x="42918" y="0"/>
            <a:ext cx="8585708" cy="10287000"/>
            <a:chOff x="0" y="0"/>
            <a:chExt cx="8585708" cy="102870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8585708" cy="10286999"/>
            </a:xfrm>
            <a:custGeom>
              <a:avLst/>
              <a:gdLst/>
              <a:ahLst/>
              <a:cxnLst/>
              <a:rect l="l" t="t" r="r" b="b"/>
              <a:pathLst>
                <a:path w="8585708" h="10286999">
                  <a:moveTo>
                    <a:pt x="8585708" y="762"/>
                  </a:moveTo>
                  <a:cubicBezTo>
                    <a:pt x="8581644" y="20447"/>
                    <a:pt x="8577961" y="40132"/>
                    <a:pt x="8573515" y="59690"/>
                  </a:cubicBezTo>
                  <a:cubicBezTo>
                    <a:pt x="8478138" y="485521"/>
                    <a:pt x="8382634" y="911225"/>
                    <a:pt x="8287258" y="1337056"/>
                  </a:cubicBezTo>
                  <a:cubicBezTo>
                    <a:pt x="8146288" y="1966722"/>
                    <a:pt x="8005699" y="2596388"/>
                    <a:pt x="7864602" y="3225927"/>
                  </a:cubicBezTo>
                  <a:cubicBezTo>
                    <a:pt x="7691247" y="3999103"/>
                    <a:pt x="7517384" y="4772152"/>
                    <a:pt x="7344029" y="5545328"/>
                  </a:cubicBezTo>
                  <a:cubicBezTo>
                    <a:pt x="7194677" y="6211443"/>
                    <a:pt x="7045579" y="6877558"/>
                    <a:pt x="6896354" y="7543800"/>
                  </a:cubicBezTo>
                  <a:cubicBezTo>
                    <a:pt x="6765290" y="8129016"/>
                    <a:pt x="6634480" y="8714105"/>
                    <a:pt x="6503162" y="9299194"/>
                  </a:cubicBezTo>
                  <a:cubicBezTo>
                    <a:pt x="6429375" y="9628250"/>
                    <a:pt x="6354953" y="9957181"/>
                    <a:pt x="6280785" y="10286237"/>
                  </a:cubicBezTo>
                  <a:cubicBezTo>
                    <a:pt x="4199382" y="10286237"/>
                    <a:pt x="2118106" y="10286110"/>
                    <a:pt x="36830" y="10286999"/>
                  </a:cubicBezTo>
                  <a:cubicBezTo>
                    <a:pt x="6731" y="10286999"/>
                    <a:pt x="0" y="10280268"/>
                    <a:pt x="0" y="10250043"/>
                  </a:cubicBezTo>
                  <a:cubicBezTo>
                    <a:pt x="762" y="6845681"/>
                    <a:pt x="762" y="3441319"/>
                    <a:pt x="0" y="36957"/>
                  </a:cubicBezTo>
                  <a:cubicBezTo>
                    <a:pt x="0" y="6731"/>
                    <a:pt x="6731" y="0"/>
                    <a:pt x="36830" y="0"/>
                  </a:cubicBezTo>
                  <a:cubicBezTo>
                    <a:pt x="2886456" y="762"/>
                    <a:pt x="5736082" y="762"/>
                    <a:pt x="8585708" y="762"/>
                  </a:cubicBezTo>
                  <a:close/>
                </a:path>
              </a:pathLst>
            </a:custGeom>
            <a:blipFill>
              <a:blip r:embed="rId2"/>
              <a:stretch>
                <a:fillRect l="-39833" r="-39833"/>
              </a:stretch>
            </a:blipFill>
          </p:spPr>
        </p:sp>
      </p:grpSp>
      <p:grpSp>
        <p:nvGrpSpPr>
          <p:cNvPr id="7" name="Group 7"/>
          <p:cNvGrpSpPr/>
          <p:nvPr/>
        </p:nvGrpSpPr>
        <p:grpSpPr>
          <a:xfrm>
            <a:off x="5683558" y="984829"/>
            <a:ext cx="9870338" cy="8273471"/>
            <a:chOff x="0" y="0"/>
            <a:chExt cx="2599595" cy="2179021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599595" cy="2179021"/>
            </a:xfrm>
            <a:custGeom>
              <a:avLst/>
              <a:gdLst/>
              <a:ahLst/>
              <a:cxnLst/>
              <a:rect l="l" t="t" r="r" b="b"/>
              <a:pathLst>
                <a:path w="2599595" h="2179021">
                  <a:moveTo>
                    <a:pt x="20393" y="0"/>
                  </a:moveTo>
                  <a:lnTo>
                    <a:pt x="2579202" y="0"/>
                  </a:lnTo>
                  <a:cubicBezTo>
                    <a:pt x="2584610" y="0"/>
                    <a:pt x="2589798" y="2149"/>
                    <a:pt x="2593622" y="5973"/>
                  </a:cubicBezTo>
                  <a:cubicBezTo>
                    <a:pt x="2597447" y="9798"/>
                    <a:pt x="2599595" y="14985"/>
                    <a:pt x="2599595" y="20393"/>
                  </a:cubicBezTo>
                  <a:lnTo>
                    <a:pt x="2599595" y="2158628"/>
                  </a:lnTo>
                  <a:cubicBezTo>
                    <a:pt x="2599595" y="2164037"/>
                    <a:pt x="2597447" y="2169224"/>
                    <a:pt x="2593622" y="2173048"/>
                  </a:cubicBezTo>
                  <a:cubicBezTo>
                    <a:pt x="2589798" y="2176873"/>
                    <a:pt x="2584610" y="2179021"/>
                    <a:pt x="2579202" y="2179021"/>
                  </a:cubicBezTo>
                  <a:lnTo>
                    <a:pt x="20393" y="2179021"/>
                  </a:lnTo>
                  <a:cubicBezTo>
                    <a:pt x="14985" y="2179021"/>
                    <a:pt x="9798" y="2176873"/>
                    <a:pt x="5973" y="2173048"/>
                  </a:cubicBezTo>
                  <a:cubicBezTo>
                    <a:pt x="2149" y="2169224"/>
                    <a:pt x="0" y="2164037"/>
                    <a:pt x="0" y="2158628"/>
                  </a:cubicBezTo>
                  <a:lnTo>
                    <a:pt x="0" y="20393"/>
                  </a:lnTo>
                  <a:cubicBezTo>
                    <a:pt x="0" y="14985"/>
                    <a:pt x="2149" y="9798"/>
                    <a:pt x="5973" y="5973"/>
                  </a:cubicBezTo>
                  <a:cubicBezTo>
                    <a:pt x="9798" y="2149"/>
                    <a:pt x="14985" y="0"/>
                    <a:pt x="20393" y="0"/>
                  </a:cubicBezTo>
                  <a:close/>
                </a:path>
              </a:pathLst>
            </a:custGeom>
            <a:solidFill>
              <a:srgbClr val="FFFFFF">
                <a:alpha val="58824"/>
              </a:srgbClr>
            </a:solidFill>
            <a:ln w="38100" cap="rnd">
              <a:solidFill>
                <a:srgbClr val="000000">
                  <a:alpha val="58824"/>
                </a:srgbClr>
              </a:solidFill>
              <a:prstDash val="solid"/>
              <a:round/>
            </a:ln>
          </p:spPr>
        </p:sp>
        <p:sp>
          <p:nvSpPr>
            <p:cNvPr id="9" name="TextBox 9"/>
            <p:cNvSpPr txBox="1"/>
            <p:nvPr/>
          </p:nvSpPr>
          <p:spPr>
            <a:xfrm>
              <a:off x="0" y="-19050"/>
              <a:ext cx="2599595" cy="2198071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10" name="Group 10"/>
          <p:cNvGrpSpPr>
            <a:grpSpLocks noChangeAspect="1"/>
          </p:cNvGrpSpPr>
          <p:nvPr/>
        </p:nvGrpSpPr>
        <p:grpSpPr>
          <a:xfrm>
            <a:off x="6997161" y="3100177"/>
            <a:ext cx="2706695" cy="2696122"/>
            <a:chOff x="0" y="0"/>
            <a:chExt cx="6502400" cy="6477000"/>
          </a:xfrm>
        </p:grpSpPr>
        <p:sp>
          <p:nvSpPr>
            <p:cNvPr id="11" name="Freeform 11"/>
            <p:cNvSpPr/>
            <p:nvPr/>
          </p:nvSpPr>
          <p:spPr>
            <a:xfrm>
              <a:off x="-23042" y="119185"/>
              <a:ext cx="6542159" cy="6244242"/>
            </a:xfrm>
            <a:custGeom>
              <a:avLst/>
              <a:gdLst/>
              <a:ahLst/>
              <a:cxnLst/>
              <a:rect l="l" t="t" r="r" b="b"/>
              <a:pathLst>
                <a:path w="6542159" h="6244242">
                  <a:moveTo>
                    <a:pt x="3271080" y="4996"/>
                  </a:moveTo>
                  <a:cubicBezTo>
                    <a:pt x="2154117" y="0"/>
                    <a:pt x="1119857" y="593026"/>
                    <a:pt x="559929" y="1559521"/>
                  </a:cubicBezTo>
                  <a:cubicBezTo>
                    <a:pt x="0" y="2526015"/>
                    <a:pt x="0" y="3718228"/>
                    <a:pt x="559929" y="4684723"/>
                  </a:cubicBezTo>
                  <a:cubicBezTo>
                    <a:pt x="1119857" y="5651217"/>
                    <a:pt x="2154117" y="6244243"/>
                    <a:pt x="3271080" y="6239248"/>
                  </a:cubicBezTo>
                  <a:cubicBezTo>
                    <a:pt x="4388043" y="6244243"/>
                    <a:pt x="5422303" y="5651217"/>
                    <a:pt x="5982231" y="4684723"/>
                  </a:cubicBezTo>
                  <a:cubicBezTo>
                    <a:pt x="6542160" y="3718229"/>
                    <a:pt x="6542160" y="2526015"/>
                    <a:pt x="5982231" y="1559521"/>
                  </a:cubicBezTo>
                  <a:cubicBezTo>
                    <a:pt x="5422303" y="593027"/>
                    <a:pt x="4388043" y="1"/>
                    <a:pt x="3271080" y="4996"/>
                  </a:cubicBezTo>
                  <a:close/>
                </a:path>
              </a:pathLst>
            </a:custGeom>
            <a:blipFill>
              <a:blip r:embed="rId3"/>
              <a:stretch>
                <a:fillRect l="223" r="223"/>
              </a:stretch>
            </a:blipFill>
          </p:spPr>
        </p:sp>
        <p:sp>
          <p:nvSpPr>
            <p:cNvPr id="12" name="Freeform 12"/>
            <p:cNvSpPr/>
            <p:nvPr/>
          </p:nvSpPr>
          <p:spPr>
            <a:xfrm>
              <a:off x="73038" y="66269"/>
              <a:ext cx="6350000" cy="6349987"/>
            </a:xfrm>
            <a:custGeom>
              <a:avLst/>
              <a:gdLst/>
              <a:ahLst/>
              <a:cxnLst/>
              <a:rect l="l" t="t" r="r" b="b"/>
              <a:pathLst>
                <a:path w="6350000" h="6349987">
                  <a:moveTo>
                    <a:pt x="3175000" y="6349987"/>
                  </a:moveTo>
                  <a:cubicBezTo>
                    <a:pt x="1424279" y="6349987"/>
                    <a:pt x="0" y="4925733"/>
                    <a:pt x="0" y="3175038"/>
                  </a:cubicBezTo>
                  <a:cubicBezTo>
                    <a:pt x="0" y="1424317"/>
                    <a:pt x="1424292" y="0"/>
                    <a:pt x="3175000" y="0"/>
                  </a:cubicBezTo>
                  <a:cubicBezTo>
                    <a:pt x="4925733" y="0"/>
                    <a:pt x="6350000" y="1424330"/>
                    <a:pt x="6350000" y="3175038"/>
                  </a:cubicBezTo>
                  <a:cubicBezTo>
                    <a:pt x="6350000" y="4925720"/>
                    <a:pt x="4925733" y="6349987"/>
                    <a:pt x="3175000" y="6349987"/>
                  </a:cubicBezTo>
                  <a:close/>
                  <a:moveTo>
                    <a:pt x="3175000" y="115760"/>
                  </a:moveTo>
                  <a:cubicBezTo>
                    <a:pt x="1488135" y="115760"/>
                    <a:pt x="115760" y="1488148"/>
                    <a:pt x="115760" y="3175038"/>
                  </a:cubicBezTo>
                  <a:cubicBezTo>
                    <a:pt x="115760" y="4861915"/>
                    <a:pt x="1488135" y="6234265"/>
                    <a:pt x="3175000" y="6234265"/>
                  </a:cubicBezTo>
                  <a:cubicBezTo>
                    <a:pt x="4861852" y="6234265"/>
                    <a:pt x="6234265" y="4861890"/>
                    <a:pt x="6234265" y="3175038"/>
                  </a:cubicBezTo>
                  <a:cubicBezTo>
                    <a:pt x="6234265" y="1488148"/>
                    <a:pt x="4861852" y="115760"/>
                    <a:pt x="3175000" y="115760"/>
                  </a:cubicBezTo>
                  <a:close/>
                </a:path>
              </a:pathLst>
            </a:custGeom>
            <a:solidFill>
              <a:srgbClr val="040506"/>
            </a:solidFill>
          </p:spPr>
        </p:sp>
      </p:grpSp>
      <p:sp>
        <p:nvSpPr>
          <p:cNvPr id="13" name="Freeform 13"/>
          <p:cNvSpPr/>
          <p:nvPr/>
        </p:nvSpPr>
        <p:spPr>
          <a:xfrm>
            <a:off x="9915711" y="4070929"/>
            <a:ext cx="399176" cy="399176"/>
          </a:xfrm>
          <a:custGeom>
            <a:avLst/>
            <a:gdLst/>
            <a:ahLst/>
            <a:cxnLst/>
            <a:rect l="l" t="t" r="r" b="b"/>
            <a:pathLst>
              <a:path w="399176" h="399176">
                <a:moveTo>
                  <a:pt x="0" y="0"/>
                </a:moveTo>
                <a:lnTo>
                  <a:pt x="399176" y="0"/>
                </a:lnTo>
                <a:lnTo>
                  <a:pt x="399176" y="399175"/>
                </a:lnTo>
                <a:lnTo>
                  <a:pt x="0" y="399175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14" name="Freeform 14"/>
          <p:cNvSpPr/>
          <p:nvPr/>
        </p:nvSpPr>
        <p:spPr>
          <a:xfrm>
            <a:off x="9915711" y="4631511"/>
            <a:ext cx="399176" cy="399176"/>
          </a:xfrm>
          <a:custGeom>
            <a:avLst/>
            <a:gdLst/>
            <a:ahLst/>
            <a:cxnLst/>
            <a:rect l="l" t="t" r="r" b="b"/>
            <a:pathLst>
              <a:path w="399176" h="399176">
                <a:moveTo>
                  <a:pt x="0" y="0"/>
                </a:moveTo>
                <a:lnTo>
                  <a:pt x="399176" y="0"/>
                </a:lnTo>
                <a:lnTo>
                  <a:pt x="399176" y="399175"/>
                </a:lnTo>
                <a:lnTo>
                  <a:pt x="0" y="399175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15" name="Freeform 15"/>
          <p:cNvSpPr/>
          <p:nvPr/>
        </p:nvSpPr>
        <p:spPr>
          <a:xfrm>
            <a:off x="9915711" y="5199655"/>
            <a:ext cx="399176" cy="399176"/>
          </a:xfrm>
          <a:custGeom>
            <a:avLst/>
            <a:gdLst/>
            <a:ahLst/>
            <a:cxnLst/>
            <a:rect l="l" t="t" r="r" b="b"/>
            <a:pathLst>
              <a:path w="399176" h="399176">
                <a:moveTo>
                  <a:pt x="0" y="0"/>
                </a:moveTo>
                <a:lnTo>
                  <a:pt x="399176" y="0"/>
                </a:lnTo>
                <a:lnTo>
                  <a:pt x="399176" y="399176"/>
                </a:lnTo>
                <a:lnTo>
                  <a:pt x="0" y="39917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</p:sp>
      <p:grpSp>
        <p:nvGrpSpPr>
          <p:cNvPr id="16" name="Group 16"/>
          <p:cNvGrpSpPr>
            <a:grpSpLocks noChangeAspect="1"/>
          </p:cNvGrpSpPr>
          <p:nvPr/>
        </p:nvGrpSpPr>
        <p:grpSpPr>
          <a:xfrm>
            <a:off x="6997161" y="6109038"/>
            <a:ext cx="2706695" cy="2696122"/>
            <a:chOff x="0" y="0"/>
            <a:chExt cx="6502400" cy="6477000"/>
          </a:xfrm>
        </p:grpSpPr>
        <p:sp>
          <p:nvSpPr>
            <p:cNvPr id="17" name="Freeform 17"/>
            <p:cNvSpPr/>
            <p:nvPr/>
          </p:nvSpPr>
          <p:spPr>
            <a:xfrm>
              <a:off x="-23042" y="119185"/>
              <a:ext cx="6542159" cy="6244242"/>
            </a:xfrm>
            <a:custGeom>
              <a:avLst/>
              <a:gdLst/>
              <a:ahLst/>
              <a:cxnLst/>
              <a:rect l="l" t="t" r="r" b="b"/>
              <a:pathLst>
                <a:path w="6542159" h="6244242">
                  <a:moveTo>
                    <a:pt x="3271080" y="4996"/>
                  </a:moveTo>
                  <a:cubicBezTo>
                    <a:pt x="2154117" y="0"/>
                    <a:pt x="1119857" y="593026"/>
                    <a:pt x="559929" y="1559521"/>
                  </a:cubicBezTo>
                  <a:cubicBezTo>
                    <a:pt x="0" y="2526015"/>
                    <a:pt x="0" y="3718228"/>
                    <a:pt x="559929" y="4684723"/>
                  </a:cubicBezTo>
                  <a:cubicBezTo>
                    <a:pt x="1119857" y="5651217"/>
                    <a:pt x="2154117" y="6244243"/>
                    <a:pt x="3271080" y="6239248"/>
                  </a:cubicBezTo>
                  <a:cubicBezTo>
                    <a:pt x="4388043" y="6244243"/>
                    <a:pt x="5422303" y="5651217"/>
                    <a:pt x="5982231" y="4684723"/>
                  </a:cubicBezTo>
                  <a:cubicBezTo>
                    <a:pt x="6542160" y="3718229"/>
                    <a:pt x="6542160" y="2526015"/>
                    <a:pt x="5982231" y="1559521"/>
                  </a:cubicBezTo>
                  <a:cubicBezTo>
                    <a:pt x="5422303" y="593027"/>
                    <a:pt x="4388043" y="1"/>
                    <a:pt x="3271080" y="4996"/>
                  </a:cubicBezTo>
                  <a:close/>
                </a:path>
              </a:pathLst>
            </a:custGeom>
            <a:blipFill>
              <a:blip r:embed="rId10"/>
              <a:stretch>
                <a:fillRect l="-24642" r="-24642"/>
              </a:stretch>
            </a:blipFill>
          </p:spPr>
        </p:sp>
        <p:sp>
          <p:nvSpPr>
            <p:cNvPr id="18" name="Freeform 18"/>
            <p:cNvSpPr/>
            <p:nvPr/>
          </p:nvSpPr>
          <p:spPr>
            <a:xfrm>
              <a:off x="73038" y="66269"/>
              <a:ext cx="6350000" cy="6349987"/>
            </a:xfrm>
            <a:custGeom>
              <a:avLst/>
              <a:gdLst/>
              <a:ahLst/>
              <a:cxnLst/>
              <a:rect l="l" t="t" r="r" b="b"/>
              <a:pathLst>
                <a:path w="6350000" h="6349987">
                  <a:moveTo>
                    <a:pt x="3175000" y="6349987"/>
                  </a:moveTo>
                  <a:cubicBezTo>
                    <a:pt x="1424279" y="6349987"/>
                    <a:pt x="0" y="4925733"/>
                    <a:pt x="0" y="3175038"/>
                  </a:cubicBezTo>
                  <a:cubicBezTo>
                    <a:pt x="0" y="1424317"/>
                    <a:pt x="1424292" y="0"/>
                    <a:pt x="3175000" y="0"/>
                  </a:cubicBezTo>
                  <a:cubicBezTo>
                    <a:pt x="4925733" y="0"/>
                    <a:pt x="6350000" y="1424330"/>
                    <a:pt x="6350000" y="3175038"/>
                  </a:cubicBezTo>
                  <a:cubicBezTo>
                    <a:pt x="6350000" y="4925720"/>
                    <a:pt x="4925733" y="6349987"/>
                    <a:pt x="3175000" y="6349987"/>
                  </a:cubicBezTo>
                  <a:close/>
                  <a:moveTo>
                    <a:pt x="3175000" y="115760"/>
                  </a:moveTo>
                  <a:cubicBezTo>
                    <a:pt x="1488135" y="115760"/>
                    <a:pt x="115760" y="1488148"/>
                    <a:pt x="115760" y="3175038"/>
                  </a:cubicBezTo>
                  <a:cubicBezTo>
                    <a:pt x="115760" y="4861915"/>
                    <a:pt x="1488135" y="6234265"/>
                    <a:pt x="3175000" y="6234265"/>
                  </a:cubicBezTo>
                  <a:cubicBezTo>
                    <a:pt x="4861852" y="6234265"/>
                    <a:pt x="6234265" y="4861890"/>
                    <a:pt x="6234265" y="3175038"/>
                  </a:cubicBezTo>
                  <a:cubicBezTo>
                    <a:pt x="6234265" y="1488148"/>
                    <a:pt x="4861852" y="115760"/>
                    <a:pt x="3175000" y="115760"/>
                  </a:cubicBezTo>
                  <a:close/>
                </a:path>
              </a:pathLst>
            </a:custGeom>
            <a:solidFill>
              <a:srgbClr val="040506"/>
            </a:solidFill>
          </p:spPr>
        </p:sp>
      </p:grpSp>
      <p:sp>
        <p:nvSpPr>
          <p:cNvPr id="19" name="Freeform 19"/>
          <p:cNvSpPr/>
          <p:nvPr/>
        </p:nvSpPr>
        <p:spPr>
          <a:xfrm>
            <a:off x="9915711" y="7079789"/>
            <a:ext cx="399176" cy="399176"/>
          </a:xfrm>
          <a:custGeom>
            <a:avLst/>
            <a:gdLst/>
            <a:ahLst/>
            <a:cxnLst/>
            <a:rect l="l" t="t" r="r" b="b"/>
            <a:pathLst>
              <a:path w="399176" h="399176">
                <a:moveTo>
                  <a:pt x="0" y="0"/>
                </a:moveTo>
                <a:lnTo>
                  <a:pt x="399176" y="0"/>
                </a:lnTo>
                <a:lnTo>
                  <a:pt x="399176" y="399176"/>
                </a:lnTo>
                <a:lnTo>
                  <a:pt x="0" y="39917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0" name="Freeform 20"/>
          <p:cNvSpPr/>
          <p:nvPr/>
        </p:nvSpPr>
        <p:spPr>
          <a:xfrm>
            <a:off x="9915711" y="7640372"/>
            <a:ext cx="399176" cy="399176"/>
          </a:xfrm>
          <a:custGeom>
            <a:avLst/>
            <a:gdLst/>
            <a:ahLst/>
            <a:cxnLst/>
            <a:rect l="l" t="t" r="r" b="b"/>
            <a:pathLst>
              <a:path w="399176" h="399176">
                <a:moveTo>
                  <a:pt x="0" y="0"/>
                </a:moveTo>
                <a:lnTo>
                  <a:pt x="399176" y="0"/>
                </a:lnTo>
                <a:lnTo>
                  <a:pt x="399176" y="399175"/>
                </a:lnTo>
                <a:lnTo>
                  <a:pt x="0" y="399175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21" name="Freeform 21"/>
          <p:cNvSpPr/>
          <p:nvPr/>
        </p:nvSpPr>
        <p:spPr>
          <a:xfrm>
            <a:off x="9915711" y="8208516"/>
            <a:ext cx="399176" cy="399176"/>
          </a:xfrm>
          <a:custGeom>
            <a:avLst/>
            <a:gdLst/>
            <a:ahLst/>
            <a:cxnLst/>
            <a:rect l="l" t="t" r="r" b="b"/>
            <a:pathLst>
              <a:path w="399176" h="399176">
                <a:moveTo>
                  <a:pt x="0" y="0"/>
                </a:moveTo>
                <a:lnTo>
                  <a:pt x="399176" y="0"/>
                </a:lnTo>
                <a:lnTo>
                  <a:pt x="399176" y="399176"/>
                </a:lnTo>
                <a:lnTo>
                  <a:pt x="0" y="399176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22" name="TextBox 22"/>
          <p:cNvSpPr txBox="1"/>
          <p:nvPr/>
        </p:nvSpPr>
        <p:spPr>
          <a:xfrm>
            <a:off x="7991617" y="1593771"/>
            <a:ext cx="4921232" cy="8983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7291"/>
              </a:lnSpc>
              <a:spcBef>
                <a:spcPct val="0"/>
              </a:spcBef>
            </a:pPr>
            <a:r>
              <a:rPr lang="en-US" sz="5283" u="none" strike="noStrike" spc="184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OUR TEAM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9915711" y="3044613"/>
            <a:ext cx="2706695" cy="4236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358"/>
              </a:lnSpc>
            </a:pPr>
            <a:r>
              <a:rPr lang="en-US" sz="2416" spc="-48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Aaron Loeb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9942142" y="3552387"/>
            <a:ext cx="4069598" cy="3470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731"/>
              </a:lnSpc>
            </a:pPr>
            <a:r>
              <a:rPr lang="en-US" sz="2053" spc="16">
                <a:solidFill>
                  <a:srgbClr val="01010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eo Of Ingoude Company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10452233" y="4593411"/>
            <a:ext cx="3788059" cy="3527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856"/>
              </a:lnSpc>
              <a:spcBef>
                <a:spcPct val="0"/>
              </a:spcBef>
            </a:pPr>
            <a:r>
              <a:rPr lang="en-US" sz="2069" u="none" strike="noStrik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www.reallygreatsite.com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10452233" y="5217036"/>
            <a:ext cx="3788059" cy="3527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856"/>
              </a:lnSpc>
              <a:spcBef>
                <a:spcPct val="0"/>
              </a:spcBef>
            </a:pPr>
            <a:r>
              <a:rPr lang="en-US" sz="2069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123 Anywhere St., Any City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10452233" y="4073009"/>
            <a:ext cx="3559508" cy="3527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856"/>
              </a:lnSpc>
              <a:spcBef>
                <a:spcPct val="0"/>
              </a:spcBef>
            </a:pPr>
            <a:r>
              <a:rPr lang="en-US" sz="2069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+123-456-7890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9915711" y="6053474"/>
            <a:ext cx="2706695" cy="4236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358"/>
              </a:lnSpc>
            </a:pPr>
            <a:r>
              <a:rPr lang="en-US" sz="2416">
                <a:solidFill>
                  <a:srgbClr val="010101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Dani Martinez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9942142" y="6561248"/>
            <a:ext cx="4069598" cy="3470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731"/>
              </a:lnSpc>
            </a:pPr>
            <a:r>
              <a:rPr lang="en-US" sz="2053" spc="16">
                <a:solidFill>
                  <a:srgbClr val="01010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eo Of Ingoude Company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10452233" y="7602272"/>
            <a:ext cx="3788059" cy="3527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856"/>
              </a:lnSpc>
              <a:spcBef>
                <a:spcPct val="0"/>
              </a:spcBef>
            </a:pPr>
            <a:r>
              <a:rPr lang="en-US" sz="2069" u="none" strike="noStrik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www.reallygreatsite.com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10452233" y="8225897"/>
            <a:ext cx="3788059" cy="3527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856"/>
              </a:lnSpc>
              <a:spcBef>
                <a:spcPct val="0"/>
              </a:spcBef>
            </a:pPr>
            <a:r>
              <a:rPr lang="en-US" sz="2069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123 Anywhere St., Any City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10452233" y="7081869"/>
            <a:ext cx="3559508" cy="3527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856"/>
              </a:lnSpc>
              <a:spcBef>
                <a:spcPct val="0"/>
              </a:spcBef>
            </a:pPr>
            <a:r>
              <a:rPr lang="en-US" sz="2069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+123-456-7890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4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668914" y="8382348"/>
            <a:ext cx="587713" cy="748246"/>
          </a:xfrm>
          <a:custGeom>
            <a:avLst/>
            <a:gdLst/>
            <a:ahLst/>
            <a:cxnLst/>
            <a:rect l="l" t="t" r="r" b="b"/>
            <a:pathLst>
              <a:path w="587713" h="748246">
                <a:moveTo>
                  <a:pt x="0" y="0"/>
                </a:moveTo>
                <a:lnTo>
                  <a:pt x="587713" y="0"/>
                </a:lnTo>
                <a:lnTo>
                  <a:pt x="587713" y="748246"/>
                </a:lnTo>
                <a:lnTo>
                  <a:pt x="0" y="74824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3" name="Freeform 3"/>
          <p:cNvSpPr/>
          <p:nvPr/>
        </p:nvSpPr>
        <p:spPr>
          <a:xfrm>
            <a:off x="3039651" y="8365399"/>
            <a:ext cx="849110" cy="827496"/>
          </a:xfrm>
          <a:custGeom>
            <a:avLst/>
            <a:gdLst/>
            <a:ahLst/>
            <a:cxnLst/>
            <a:rect l="l" t="t" r="r" b="b"/>
            <a:pathLst>
              <a:path w="849110" h="827496">
                <a:moveTo>
                  <a:pt x="0" y="0"/>
                </a:moveTo>
                <a:lnTo>
                  <a:pt x="849110" y="0"/>
                </a:lnTo>
                <a:lnTo>
                  <a:pt x="849110" y="827496"/>
                </a:lnTo>
                <a:lnTo>
                  <a:pt x="0" y="82749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4" name="Freeform 4"/>
          <p:cNvSpPr/>
          <p:nvPr/>
        </p:nvSpPr>
        <p:spPr>
          <a:xfrm>
            <a:off x="4616392" y="8317688"/>
            <a:ext cx="825844" cy="895886"/>
          </a:xfrm>
          <a:custGeom>
            <a:avLst/>
            <a:gdLst/>
            <a:ahLst/>
            <a:cxnLst/>
            <a:rect l="l" t="t" r="r" b="b"/>
            <a:pathLst>
              <a:path w="825844" h="895886">
                <a:moveTo>
                  <a:pt x="0" y="0"/>
                </a:moveTo>
                <a:lnTo>
                  <a:pt x="825844" y="0"/>
                </a:lnTo>
                <a:lnTo>
                  <a:pt x="825844" y="895886"/>
                </a:lnTo>
                <a:lnTo>
                  <a:pt x="0" y="895886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5" name="Freeform 5"/>
          <p:cNvSpPr/>
          <p:nvPr/>
        </p:nvSpPr>
        <p:spPr>
          <a:xfrm>
            <a:off x="5871257" y="8394737"/>
            <a:ext cx="801428" cy="735857"/>
          </a:xfrm>
          <a:custGeom>
            <a:avLst/>
            <a:gdLst/>
            <a:ahLst/>
            <a:cxnLst/>
            <a:rect l="l" t="t" r="r" b="b"/>
            <a:pathLst>
              <a:path w="801428" h="735857">
                <a:moveTo>
                  <a:pt x="0" y="0"/>
                </a:moveTo>
                <a:lnTo>
                  <a:pt x="801428" y="0"/>
                </a:lnTo>
                <a:lnTo>
                  <a:pt x="801428" y="735857"/>
                </a:lnTo>
                <a:lnTo>
                  <a:pt x="0" y="735857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6" name="Freeform 6"/>
          <p:cNvSpPr/>
          <p:nvPr/>
        </p:nvSpPr>
        <p:spPr>
          <a:xfrm>
            <a:off x="5983296" y="5900169"/>
            <a:ext cx="660740" cy="798697"/>
          </a:xfrm>
          <a:custGeom>
            <a:avLst/>
            <a:gdLst/>
            <a:ahLst/>
            <a:cxnLst/>
            <a:rect l="l" t="t" r="r" b="b"/>
            <a:pathLst>
              <a:path w="660740" h="798697">
                <a:moveTo>
                  <a:pt x="0" y="0"/>
                </a:moveTo>
                <a:lnTo>
                  <a:pt x="660740" y="0"/>
                </a:lnTo>
                <a:lnTo>
                  <a:pt x="660740" y="798697"/>
                </a:lnTo>
                <a:lnTo>
                  <a:pt x="0" y="798697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</p:sp>
      <p:sp>
        <p:nvSpPr>
          <p:cNvPr id="7" name="Freeform 7"/>
          <p:cNvSpPr/>
          <p:nvPr/>
        </p:nvSpPr>
        <p:spPr>
          <a:xfrm>
            <a:off x="7393405" y="4483817"/>
            <a:ext cx="733943" cy="839228"/>
          </a:xfrm>
          <a:custGeom>
            <a:avLst/>
            <a:gdLst/>
            <a:ahLst/>
            <a:cxnLst/>
            <a:rect l="l" t="t" r="r" b="b"/>
            <a:pathLst>
              <a:path w="733943" h="839228">
                <a:moveTo>
                  <a:pt x="0" y="0"/>
                </a:moveTo>
                <a:lnTo>
                  <a:pt x="733943" y="0"/>
                </a:lnTo>
                <a:lnTo>
                  <a:pt x="733943" y="839228"/>
                </a:lnTo>
                <a:lnTo>
                  <a:pt x="0" y="839228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</p:sp>
      <p:sp>
        <p:nvSpPr>
          <p:cNvPr id="8" name="Freeform 8"/>
          <p:cNvSpPr/>
          <p:nvPr/>
        </p:nvSpPr>
        <p:spPr>
          <a:xfrm>
            <a:off x="7944297" y="4490759"/>
            <a:ext cx="810032" cy="779103"/>
          </a:xfrm>
          <a:custGeom>
            <a:avLst/>
            <a:gdLst/>
            <a:ahLst/>
            <a:cxnLst/>
            <a:rect l="l" t="t" r="r" b="b"/>
            <a:pathLst>
              <a:path w="810032" h="779103">
                <a:moveTo>
                  <a:pt x="0" y="0"/>
                </a:moveTo>
                <a:lnTo>
                  <a:pt x="810032" y="0"/>
                </a:lnTo>
                <a:lnTo>
                  <a:pt x="810032" y="779103"/>
                </a:lnTo>
                <a:lnTo>
                  <a:pt x="0" y="779103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</p:sp>
      <p:sp>
        <p:nvSpPr>
          <p:cNvPr id="9" name="Freeform 9"/>
          <p:cNvSpPr/>
          <p:nvPr/>
        </p:nvSpPr>
        <p:spPr>
          <a:xfrm>
            <a:off x="9154795" y="4351976"/>
            <a:ext cx="682965" cy="813054"/>
          </a:xfrm>
          <a:custGeom>
            <a:avLst/>
            <a:gdLst/>
            <a:ahLst/>
            <a:cxnLst/>
            <a:rect l="l" t="t" r="r" b="b"/>
            <a:pathLst>
              <a:path w="682965" h="813054">
                <a:moveTo>
                  <a:pt x="0" y="0"/>
                </a:moveTo>
                <a:lnTo>
                  <a:pt x="682965" y="0"/>
                </a:lnTo>
                <a:lnTo>
                  <a:pt x="682965" y="813054"/>
                </a:lnTo>
                <a:lnTo>
                  <a:pt x="0" y="813054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</p:sp>
      <p:sp>
        <p:nvSpPr>
          <p:cNvPr id="10" name="Freeform 10"/>
          <p:cNvSpPr/>
          <p:nvPr/>
        </p:nvSpPr>
        <p:spPr>
          <a:xfrm>
            <a:off x="10390674" y="4533662"/>
            <a:ext cx="795968" cy="706241"/>
          </a:xfrm>
          <a:custGeom>
            <a:avLst/>
            <a:gdLst/>
            <a:ahLst/>
            <a:cxnLst/>
            <a:rect l="l" t="t" r="r" b="b"/>
            <a:pathLst>
              <a:path w="795968" h="706241">
                <a:moveTo>
                  <a:pt x="0" y="0"/>
                </a:moveTo>
                <a:lnTo>
                  <a:pt x="795968" y="0"/>
                </a:lnTo>
                <a:lnTo>
                  <a:pt x="795968" y="706241"/>
                </a:lnTo>
                <a:lnTo>
                  <a:pt x="0" y="706241"/>
                </a:lnTo>
                <a:lnTo>
                  <a:pt x="0" y="0"/>
                </a:lnTo>
                <a:close/>
              </a:path>
            </a:pathLst>
          </a:custGeom>
          <a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a:blipFill>
        </p:spPr>
      </p:sp>
      <p:sp>
        <p:nvSpPr>
          <p:cNvPr id="11" name="Freeform 11"/>
          <p:cNvSpPr/>
          <p:nvPr/>
        </p:nvSpPr>
        <p:spPr>
          <a:xfrm>
            <a:off x="11812724" y="4486006"/>
            <a:ext cx="698242" cy="672851"/>
          </a:xfrm>
          <a:custGeom>
            <a:avLst/>
            <a:gdLst/>
            <a:ahLst/>
            <a:cxnLst/>
            <a:rect l="l" t="t" r="r" b="b"/>
            <a:pathLst>
              <a:path w="698242" h="672851">
                <a:moveTo>
                  <a:pt x="0" y="0"/>
                </a:moveTo>
                <a:lnTo>
                  <a:pt x="698242" y="0"/>
                </a:lnTo>
                <a:lnTo>
                  <a:pt x="698242" y="672851"/>
                </a:lnTo>
                <a:lnTo>
                  <a:pt x="0" y="672851"/>
                </a:lnTo>
                <a:lnTo>
                  <a:pt x="0" y="0"/>
                </a:lnTo>
                <a:close/>
              </a:path>
            </a:pathLst>
          </a:custGeom>
          <a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a:blipFill>
        </p:spPr>
      </p:sp>
      <p:sp>
        <p:nvSpPr>
          <p:cNvPr id="12" name="Freeform 12"/>
          <p:cNvSpPr/>
          <p:nvPr/>
        </p:nvSpPr>
        <p:spPr>
          <a:xfrm>
            <a:off x="7372855" y="5746697"/>
            <a:ext cx="775043" cy="868174"/>
          </a:xfrm>
          <a:custGeom>
            <a:avLst/>
            <a:gdLst/>
            <a:ahLst/>
            <a:cxnLst/>
            <a:rect l="l" t="t" r="r" b="b"/>
            <a:pathLst>
              <a:path w="775043" h="868174">
                <a:moveTo>
                  <a:pt x="0" y="0"/>
                </a:moveTo>
                <a:lnTo>
                  <a:pt x="775043" y="0"/>
                </a:lnTo>
                <a:lnTo>
                  <a:pt x="775043" y="868174"/>
                </a:lnTo>
                <a:lnTo>
                  <a:pt x="0" y="868174"/>
                </a:lnTo>
                <a:lnTo>
                  <a:pt x="0" y="0"/>
                </a:lnTo>
                <a:close/>
              </a:path>
            </a:pathLst>
          </a:custGeom>
          <a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a:blipFill>
        </p:spPr>
      </p:sp>
      <p:sp>
        <p:nvSpPr>
          <p:cNvPr id="13" name="Freeform 13"/>
          <p:cNvSpPr/>
          <p:nvPr/>
        </p:nvSpPr>
        <p:spPr>
          <a:xfrm>
            <a:off x="9079401" y="6927753"/>
            <a:ext cx="833753" cy="868492"/>
          </a:xfrm>
          <a:custGeom>
            <a:avLst/>
            <a:gdLst/>
            <a:ahLst/>
            <a:cxnLst/>
            <a:rect l="l" t="t" r="r" b="b"/>
            <a:pathLst>
              <a:path w="833753" h="868492">
                <a:moveTo>
                  <a:pt x="0" y="0"/>
                </a:moveTo>
                <a:lnTo>
                  <a:pt x="833753" y="0"/>
                </a:lnTo>
                <a:lnTo>
                  <a:pt x="833753" y="868492"/>
                </a:lnTo>
                <a:lnTo>
                  <a:pt x="0" y="868492"/>
                </a:lnTo>
                <a:lnTo>
                  <a:pt x="0" y="0"/>
                </a:lnTo>
                <a:close/>
              </a:path>
            </a:pathLst>
          </a:custGeom>
          <a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a:blipFill>
        </p:spPr>
      </p:sp>
      <p:sp>
        <p:nvSpPr>
          <p:cNvPr id="14" name="Freeform 14"/>
          <p:cNvSpPr/>
          <p:nvPr/>
        </p:nvSpPr>
        <p:spPr>
          <a:xfrm>
            <a:off x="9132481" y="5628671"/>
            <a:ext cx="727593" cy="835440"/>
          </a:xfrm>
          <a:custGeom>
            <a:avLst/>
            <a:gdLst/>
            <a:ahLst/>
            <a:cxnLst/>
            <a:rect l="l" t="t" r="r" b="b"/>
            <a:pathLst>
              <a:path w="727593" h="835440">
                <a:moveTo>
                  <a:pt x="0" y="0"/>
                </a:moveTo>
                <a:lnTo>
                  <a:pt x="727593" y="0"/>
                </a:lnTo>
                <a:lnTo>
                  <a:pt x="727593" y="835441"/>
                </a:lnTo>
                <a:lnTo>
                  <a:pt x="0" y="835441"/>
                </a:lnTo>
                <a:lnTo>
                  <a:pt x="0" y="0"/>
                </a:lnTo>
                <a:close/>
              </a:path>
            </a:pathLst>
          </a:custGeom>
          <a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a:blipFill>
        </p:spPr>
      </p:sp>
      <p:sp>
        <p:nvSpPr>
          <p:cNvPr id="15" name="Freeform 15"/>
          <p:cNvSpPr/>
          <p:nvPr/>
        </p:nvSpPr>
        <p:spPr>
          <a:xfrm>
            <a:off x="10354571" y="5693520"/>
            <a:ext cx="868174" cy="868174"/>
          </a:xfrm>
          <a:custGeom>
            <a:avLst/>
            <a:gdLst/>
            <a:ahLst/>
            <a:cxnLst/>
            <a:rect l="l" t="t" r="r" b="b"/>
            <a:pathLst>
              <a:path w="868174" h="868174">
                <a:moveTo>
                  <a:pt x="0" y="0"/>
                </a:moveTo>
                <a:lnTo>
                  <a:pt x="868174" y="0"/>
                </a:lnTo>
                <a:lnTo>
                  <a:pt x="868174" y="868174"/>
                </a:lnTo>
                <a:lnTo>
                  <a:pt x="0" y="868174"/>
                </a:lnTo>
                <a:lnTo>
                  <a:pt x="0" y="0"/>
                </a:lnTo>
                <a:close/>
              </a:path>
            </a:pathLst>
          </a:custGeom>
          <a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a:blipFill>
        </p:spPr>
      </p:sp>
      <p:sp>
        <p:nvSpPr>
          <p:cNvPr id="16" name="Freeform 16"/>
          <p:cNvSpPr/>
          <p:nvPr/>
        </p:nvSpPr>
        <p:spPr>
          <a:xfrm>
            <a:off x="7899529" y="8358896"/>
            <a:ext cx="899568" cy="868492"/>
          </a:xfrm>
          <a:custGeom>
            <a:avLst/>
            <a:gdLst/>
            <a:ahLst/>
            <a:cxnLst/>
            <a:rect l="l" t="t" r="r" b="b"/>
            <a:pathLst>
              <a:path w="899568" h="868492">
                <a:moveTo>
                  <a:pt x="0" y="0"/>
                </a:moveTo>
                <a:lnTo>
                  <a:pt x="899568" y="0"/>
                </a:lnTo>
                <a:lnTo>
                  <a:pt x="899568" y="868492"/>
                </a:lnTo>
                <a:lnTo>
                  <a:pt x="0" y="868492"/>
                </a:lnTo>
                <a:lnTo>
                  <a:pt x="0" y="0"/>
                </a:lnTo>
                <a:close/>
              </a:path>
            </a:pathLst>
          </a:custGeom>
          <a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a:blipFill>
        </p:spPr>
      </p:sp>
      <p:sp>
        <p:nvSpPr>
          <p:cNvPr id="17" name="Freeform 17"/>
          <p:cNvSpPr/>
          <p:nvPr/>
        </p:nvSpPr>
        <p:spPr>
          <a:xfrm>
            <a:off x="13029848" y="6934814"/>
            <a:ext cx="928806" cy="896720"/>
          </a:xfrm>
          <a:custGeom>
            <a:avLst/>
            <a:gdLst/>
            <a:ahLst/>
            <a:cxnLst/>
            <a:rect l="l" t="t" r="r" b="b"/>
            <a:pathLst>
              <a:path w="928806" h="896720">
                <a:moveTo>
                  <a:pt x="0" y="0"/>
                </a:moveTo>
                <a:lnTo>
                  <a:pt x="928806" y="0"/>
                </a:lnTo>
                <a:lnTo>
                  <a:pt x="928806" y="896719"/>
                </a:lnTo>
                <a:lnTo>
                  <a:pt x="0" y="896719"/>
                </a:lnTo>
                <a:lnTo>
                  <a:pt x="0" y="0"/>
                </a:lnTo>
                <a:close/>
              </a:path>
            </a:pathLst>
          </a:cu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</p:sp>
      <p:sp>
        <p:nvSpPr>
          <p:cNvPr id="18" name="Freeform 18"/>
          <p:cNvSpPr/>
          <p:nvPr/>
        </p:nvSpPr>
        <p:spPr>
          <a:xfrm>
            <a:off x="13268864" y="4397581"/>
            <a:ext cx="778541" cy="767216"/>
          </a:xfrm>
          <a:custGeom>
            <a:avLst/>
            <a:gdLst/>
            <a:ahLst/>
            <a:cxnLst/>
            <a:rect l="l" t="t" r="r" b="b"/>
            <a:pathLst>
              <a:path w="778541" h="767216">
                <a:moveTo>
                  <a:pt x="0" y="0"/>
                </a:moveTo>
                <a:lnTo>
                  <a:pt x="778541" y="0"/>
                </a:lnTo>
                <a:lnTo>
                  <a:pt x="778541" y="767216"/>
                </a:lnTo>
                <a:lnTo>
                  <a:pt x="0" y="767216"/>
                </a:lnTo>
                <a:lnTo>
                  <a:pt x="0" y="0"/>
                </a:lnTo>
                <a:close/>
              </a:path>
            </a:pathLst>
          </a:custGeom>
          <a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a:blipFill>
        </p:spPr>
      </p:sp>
      <p:sp>
        <p:nvSpPr>
          <p:cNvPr id="19" name="Freeform 19"/>
          <p:cNvSpPr/>
          <p:nvPr/>
        </p:nvSpPr>
        <p:spPr>
          <a:xfrm>
            <a:off x="1518045" y="4476154"/>
            <a:ext cx="889451" cy="889451"/>
          </a:xfrm>
          <a:custGeom>
            <a:avLst/>
            <a:gdLst/>
            <a:ahLst/>
            <a:cxnLst/>
            <a:rect l="l" t="t" r="r" b="b"/>
            <a:pathLst>
              <a:path w="889451" h="889451">
                <a:moveTo>
                  <a:pt x="0" y="0"/>
                </a:moveTo>
                <a:lnTo>
                  <a:pt x="889452" y="0"/>
                </a:lnTo>
                <a:lnTo>
                  <a:pt x="889452" y="889451"/>
                </a:lnTo>
                <a:lnTo>
                  <a:pt x="0" y="889451"/>
                </a:lnTo>
                <a:lnTo>
                  <a:pt x="0" y="0"/>
                </a:lnTo>
                <a:close/>
              </a:path>
            </a:pathLst>
          </a:custGeom>
          <a:blipFill>
            <a:blip r:embed="rId36">
              <a:extLs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/>
            </a:stretch>
          </a:blipFill>
        </p:spPr>
      </p:sp>
      <p:sp>
        <p:nvSpPr>
          <p:cNvPr id="20" name="Freeform 20"/>
          <p:cNvSpPr/>
          <p:nvPr/>
        </p:nvSpPr>
        <p:spPr>
          <a:xfrm>
            <a:off x="10405050" y="7015311"/>
            <a:ext cx="767216" cy="767216"/>
          </a:xfrm>
          <a:custGeom>
            <a:avLst/>
            <a:gdLst/>
            <a:ahLst/>
            <a:cxnLst/>
            <a:rect l="l" t="t" r="r" b="b"/>
            <a:pathLst>
              <a:path w="767216" h="767216">
                <a:moveTo>
                  <a:pt x="0" y="0"/>
                </a:moveTo>
                <a:lnTo>
                  <a:pt x="767216" y="0"/>
                </a:lnTo>
                <a:lnTo>
                  <a:pt x="767216" y="767216"/>
                </a:lnTo>
                <a:lnTo>
                  <a:pt x="0" y="767216"/>
                </a:lnTo>
                <a:lnTo>
                  <a:pt x="0" y="0"/>
                </a:lnTo>
                <a:close/>
              </a:path>
            </a:pathLst>
          </a:custGeom>
          <a:blipFill>
            <a:blip r:embed="rId38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a:blipFill>
        </p:spPr>
      </p:sp>
      <p:sp>
        <p:nvSpPr>
          <p:cNvPr id="21" name="Freeform 21"/>
          <p:cNvSpPr/>
          <p:nvPr/>
        </p:nvSpPr>
        <p:spPr>
          <a:xfrm>
            <a:off x="4635686" y="5665856"/>
            <a:ext cx="787256" cy="767216"/>
          </a:xfrm>
          <a:custGeom>
            <a:avLst/>
            <a:gdLst/>
            <a:ahLst/>
            <a:cxnLst/>
            <a:rect l="l" t="t" r="r" b="b"/>
            <a:pathLst>
              <a:path w="787256" h="767216">
                <a:moveTo>
                  <a:pt x="0" y="0"/>
                </a:moveTo>
                <a:lnTo>
                  <a:pt x="787256" y="0"/>
                </a:lnTo>
                <a:lnTo>
                  <a:pt x="787256" y="767217"/>
                </a:lnTo>
                <a:lnTo>
                  <a:pt x="0" y="767217"/>
                </a:lnTo>
                <a:lnTo>
                  <a:pt x="0" y="0"/>
                </a:lnTo>
                <a:close/>
              </a:path>
            </a:pathLst>
          </a:custGeom>
          <a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a:blipFill>
        </p:spPr>
      </p:sp>
      <p:sp>
        <p:nvSpPr>
          <p:cNvPr id="22" name="Freeform 22"/>
          <p:cNvSpPr/>
          <p:nvPr/>
        </p:nvSpPr>
        <p:spPr>
          <a:xfrm>
            <a:off x="11712942" y="7030117"/>
            <a:ext cx="897806" cy="767216"/>
          </a:xfrm>
          <a:custGeom>
            <a:avLst/>
            <a:gdLst/>
            <a:ahLst/>
            <a:cxnLst/>
            <a:rect l="l" t="t" r="r" b="b"/>
            <a:pathLst>
              <a:path w="897806" h="767216">
                <a:moveTo>
                  <a:pt x="0" y="0"/>
                </a:moveTo>
                <a:lnTo>
                  <a:pt x="897806" y="0"/>
                </a:lnTo>
                <a:lnTo>
                  <a:pt x="897806" y="767216"/>
                </a:lnTo>
                <a:lnTo>
                  <a:pt x="0" y="767216"/>
                </a:lnTo>
                <a:lnTo>
                  <a:pt x="0" y="0"/>
                </a:lnTo>
                <a:close/>
              </a:path>
            </a:pathLst>
          </a:custGeom>
          <a:blipFill>
            <a:blip r:embed="rId42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a:blipFill>
        </p:spPr>
      </p:sp>
      <p:sp>
        <p:nvSpPr>
          <p:cNvPr id="23" name="Freeform 23"/>
          <p:cNvSpPr/>
          <p:nvPr/>
        </p:nvSpPr>
        <p:spPr>
          <a:xfrm>
            <a:off x="3109891" y="5654140"/>
            <a:ext cx="708629" cy="767216"/>
          </a:xfrm>
          <a:custGeom>
            <a:avLst/>
            <a:gdLst/>
            <a:ahLst/>
            <a:cxnLst/>
            <a:rect l="l" t="t" r="r" b="b"/>
            <a:pathLst>
              <a:path w="708629" h="767216">
                <a:moveTo>
                  <a:pt x="0" y="0"/>
                </a:moveTo>
                <a:lnTo>
                  <a:pt x="708629" y="0"/>
                </a:lnTo>
                <a:lnTo>
                  <a:pt x="708629" y="767217"/>
                </a:lnTo>
                <a:lnTo>
                  <a:pt x="0" y="767217"/>
                </a:lnTo>
                <a:lnTo>
                  <a:pt x="0" y="0"/>
                </a:lnTo>
                <a:close/>
              </a:path>
            </a:pathLst>
          </a:custGeom>
          <a:blipFill>
            <a:blip r:embed="rId44">
              <a:extLst>
                <a:ext uri="{96DAC541-7B7A-43D3-8B79-37D633B846F1}">
                  <asvg:svgBlip xmlns:asvg="http://schemas.microsoft.com/office/drawing/2016/SVG/main" r:embed="rId45"/>
                </a:ext>
              </a:extLst>
            </a:blip>
            <a:stretch>
              <a:fillRect/>
            </a:stretch>
          </a:blipFill>
        </p:spPr>
      </p:sp>
      <p:sp>
        <p:nvSpPr>
          <p:cNvPr id="24" name="Freeform 24"/>
          <p:cNvSpPr/>
          <p:nvPr/>
        </p:nvSpPr>
        <p:spPr>
          <a:xfrm>
            <a:off x="1627985" y="5823048"/>
            <a:ext cx="669571" cy="767216"/>
          </a:xfrm>
          <a:custGeom>
            <a:avLst/>
            <a:gdLst/>
            <a:ahLst/>
            <a:cxnLst/>
            <a:rect l="l" t="t" r="r" b="b"/>
            <a:pathLst>
              <a:path w="669571" h="767216">
                <a:moveTo>
                  <a:pt x="0" y="0"/>
                </a:moveTo>
                <a:lnTo>
                  <a:pt x="669571" y="0"/>
                </a:lnTo>
                <a:lnTo>
                  <a:pt x="669571" y="767217"/>
                </a:lnTo>
                <a:lnTo>
                  <a:pt x="0" y="767217"/>
                </a:lnTo>
                <a:lnTo>
                  <a:pt x="0" y="0"/>
                </a:lnTo>
                <a:close/>
              </a:path>
            </a:pathLst>
          </a:custGeom>
          <a:blipFill>
            <a:blip r:embed="rId46">
              <a:extLs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a:blipFill>
        </p:spPr>
      </p:sp>
      <p:sp>
        <p:nvSpPr>
          <p:cNvPr id="25" name="Freeform 25"/>
          <p:cNvSpPr/>
          <p:nvPr/>
        </p:nvSpPr>
        <p:spPr>
          <a:xfrm>
            <a:off x="13264507" y="8298717"/>
            <a:ext cx="514732" cy="767216"/>
          </a:xfrm>
          <a:custGeom>
            <a:avLst/>
            <a:gdLst/>
            <a:ahLst/>
            <a:cxnLst/>
            <a:rect l="l" t="t" r="r" b="b"/>
            <a:pathLst>
              <a:path w="514732" h="767216">
                <a:moveTo>
                  <a:pt x="0" y="0"/>
                </a:moveTo>
                <a:lnTo>
                  <a:pt x="514732" y="0"/>
                </a:lnTo>
                <a:lnTo>
                  <a:pt x="514732" y="767216"/>
                </a:lnTo>
                <a:lnTo>
                  <a:pt x="0" y="767216"/>
                </a:lnTo>
                <a:lnTo>
                  <a:pt x="0" y="0"/>
                </a:lnTo>
                <a:close/>
              </a:path>
            </a:pathLst>
          </a:custGeom>
          <a:blipFill>
            <a:blip r:embed="rId48">
              <a:extLst>
                <a:ext uri="{96DAC541-7B7A-43D3-8B79-37D633B846F1}">
                  <asvg:svgBlip xmlns:asvg="http://schemas.microsoft.com/office/drawing/2016/SVG/main" r:embed="rId49"/>
                </a:ext>
              </a:extLst>
            </a:blip>
            <a:stretch>
              <a:fillRect/>
            </a:stretch>
          </a:blipFill>
        </p:spPr>
      </p:sp>
      <p:sp>
        <p:nvSpPr>
          <p:cNvPr id="26" name="Freeform 26"/>
          <p:cNvSpPr/>
          <p:nvPr/>
        </p:nvSpPr>
        <p:spPr>
          <a:xfrm>
            <a:off x="7362292" y="8358896"/>
            <a:ext cx="796168" cy="767216"/>
          </a:xfrm>
          <a:custGeom>
            <a:avLst/>
            <a:gdLst/>
            <a:ahLst/>
            <a:cxnLst/>
            <a:rect l="l" t="t" r="r" b="b"/>
            <a:pathLst>
              <a:path w="796168" h="767216">
                <a:moveTo>
                  <a:pt x="0" y="0"/>
                </a:moveTo>
                <a:lnTo>
                  <a:pt x="796168" y="0"/>
                </a:lnTo>
                <a:lnTo>
                  <a:pt x="796168" y="767216"/>
                </a:lnTo>
                <a:lnTo>
                  <a:pt x="0" y="767216"/>
                </a:lnTo>
                <a:lnTo>
                  <a:pt x="0" y="0"/>
                </a:lnTo>
                <a:close/>
              </a:path>
            </a:pathLst>
          </a:custGeom>
          <a:blipFill>
            <a:blip r:embed="rId50">
              <a:extLst>
                <a:ext uri="{96DAC541-7B7A-43D3-8B79-37D633B846F1}">
                  <asvg:svgBlip xmlns:asvg="http://schemas.microsoft.com/office/drawing/2016/SVG/main" r:embed="rId51"/>
                </a:ext>
              </a:extLst>
            </a:blip>
            <a:stretch>
              <a:fillRect/>
            </a:stretch>
          </a:blipFill>
        </p:spPr>
      </p:sp>
      <p:sp>
        <p:nvSpPr>
          <p:cNvPr id="27" name="Freeform 27"/>
          <p:cNvSpPr/>
          <p:nvPr/>
        </p:nvSpPr>
        <p:spPr>
          <a:xfrm>
            <a:off x="6055481" y="4586260"/>
            <a:ext cx="661201" cy="767216"/>
          </a:xfrm>
          <a:custGeom>
            <a:avLst/>
            <a:gdLst/>
            <a:ahLst/>
            <a:cxnLst/>
            <a:rect l="l" t="t" r="r" b="b"/>
            <a:pathLst>
              <a:path w="661201" h="767216">
                <a:moveTo>
                  <a:pt x="0" y="0"/>
                </a:moveTo>
                <a:lnTo>
                  <a:pt x="661201" y="0"/>
                </a:lnTo>
                <a:lnTo>
                  <a:pt x="661201" y="767216"/>
                </a:lnTo>
                <a:lnTo>
                  <a:pt x="0" y="767216"/>
                </a:lnTo>
                <a:lnTo>
                  <a:pt x="0" y="0"/>
                </a:lnTo>
                <a:close/>
              </a:path>
            </a:pathLst>
          </a:custGeom>
          <a:blipFill>
            <a:blip r:embed="rId52">
              <a:extLst>
                <a:ext uri="{96DAC541-7B7A-43D3-8B79-37D633B846F1}">
                  <asvg:svgBlip xmlns:asvg="http://schemas.microsoft.com/office/drawing/2016/SVG/main" r:embed="rId53"/>
                </a:ext>
              </a:extLst>
            </a:blip>
            <a:stretch>
              <a:fillRect/>
            </a:stretch>
          </a:blipFill>
        </p:spPr>
      </p:sp>
      <p:sp>
        <p:nvSpPr>
          <p:cNvPr id="28" name="Freeform 28"/>
          <p:cNvSpPr/>
          <p:nvPr/>
        </p:nvSpPr>
        <p:spPr>
          <a:xfrm>
            <a:off x="2921674" y="4506444"/>
            <a:ext cx="1085063" cy="651038"/>
          </a:xfrm>
          <a:custGeom>
            <a:avLst/>
            <a:gdLst/>
            <a:ahLst/>
            <a:cxnLst/>
            <a:rect l="l" t="t" r="r" b="b"/>
            <a:pathLst>
              <a:path w="1085063" h="651038">
                <a:moveTo>
                  <a:pt x="0" y="0"/>
                </a:moveTo>
                <a:lnTo>
                  <a:pt x="1085063" y="0"/>
                </a:lnTo>
                <a:lnTo>
                  <a:pt x="1085063" y="651038"/>
                </a:lnTo>
                <a:lnTo>
                  <a:pt x="0" y="651038"/>
                </a:lnTo>
                <a:lnTo>
                  <a:pt x="0" y="0"/>
                </a:lnTo>
                <a:close/>
              </a:path>
            </a:pathLst>
          </a:custGeom>
          <a:blipFill>
            <a:blip r:embed="rId54">
              <a:extLst>
                <a:ext uri="{96DAC541-7B7A-43D3-8B79-37D633B846F1}">
                  <asvg:svgBlip xmlns:asvg="http://schemas.microsoft.com/office/drawing/2016/SVG/main" r:embed="rId55"/>
                </a:ext>
              </a:extLst>
            </a:blip>
            <a:stretch>
              <a:fillRect/>
            </a:stretch>
          </a:blipFill>
        </p:spPr>
      </p:sp>
      <p:sp>
        <p:nvSpPr>
          <p:cNvPr id="29" name="Freeform 29"/>
          <p:cNvSpPr/>
          <p:nvPr/>
        </p:nvSpPr>
        <p:spPr>
          <a:xfrm>
            <a:off x="4724520" y="4417491"/>
            <a:ext cx="609588" cy="767216"/>
          </a:xfrm>
          <a:custGeom>
            <a:avLst/>
            <a:gdLst/>
            <a:ahLst/>
            <a:cxnLst/>
            <a:rect l="l" t="t" r="r" b="b"/>
            <a:pathLst>
              <a:path w="609588" h="767216">
                <a:moveTo>
                  <a:pt x="0" y="0"/>
                </a:moveTo>
                <a:lnTo>
                  <a:pt x="609588" y="0"/>
                </a:lnTo>
                <a:lnTo>
                  <a:pt x="609588" y="767217"/>
                </a:lnTo>
                <a:lnTo>
                  <a:pt x="0" y="767217"/>
                </a:lnTo>
                <a:lnTo>
                  <a:pt x="0" y="0"/>
                </a:lnTo>
                <a:close/>
              </a:path>
            </a:pathLst>
          </a:custGeom>
          <a:blipFill>
            <a:blip r:embed="rId56">
              <a:extLst>
                <a:ext uri="{96DAC541-7B7A-43D3-8B79-37D633B846F1}">
                  <asvg:svgBlip xmlns:asvg="http://schemas.microsoft.com/office/drawing/2016/SVG/main" r:embed="rId57"/>
                </a:ext>
              </a:extLst>
            </a:blip>
            <a:stretch>
              <a:fillRect/>
            </a:stretch>
          </a:blipFill>
        </p:spPr>
      </p:sp>
      <p:sp>
        <p:nvSpPr>
          <p:cNvPr id="30" name="Freeform 30"/>
          <p:cNvSpPr/>
          <p:nvPr/>
        </p:nvSpPr>
        <p:spPr>
          <a:xfrm>
            <a:off x="13264507" y="5572814"/>
            <a:ext cx="787256" cy="767216"/>
          </a:xfrm>
          <a:custGeom>
            <a:avLst/>
            <a:gdLst/>
            <a:ahLst/>
            <a:cxnLst/>
            <a:rect l="l" t="t" r="r" b="b"/>
            <a:pathLst>
              <a:path w="787256" h="767216">
                <a:moveTo>
                  <a:pt x="0" y="0"/>
                </a:moveTo>
                <a:lnTo>
                  <a:pt x="787255" y="0"/>
                </a:lnTo>
                <a:lnTo>
                  <a:pt x="787255" y="767217"/>
                </a:lnTo>
                <a:lnTo>
                  <a:pt x="0" y="767217"/>
                </a:lnTo>
                <a:lnTo>
                  <a:pt x="0" y="0"/>
                </a:lnTo>
                <a:close/>
              </a:path>
            </a:pathLst>
          </a:custGeom>
          <a:blipFill>
            <a:blip r:embed="rId58">
              <a:extLst>
                <a:ext uri="{96DAC541-7B7A-43D3-8B79-37D633B846F1}">
                  <asvg:svgBlip xmlns:asvg="http://schemas.microsoft.com/office/drawing/2016/SVG/main" r:embed="rId59"/>
                </a:ext>
              </a:extLst>
            </a:blip>
            <a:stretch>
              <a:fillRect/>
            </a:stretch>
          </a:blipFill>
        </p:spPr>
      </p:sp>
      <p:sp>
        <p:nvSpPr>
          <p:cNvPr id="31" name="Freeform 31"/>
          <p:cNvSpPr/>
          <p:nvPr/>
        </p:nvSpPr>
        <p:spPr>
          <a:xfrm>
            <a:off x="10299344" y="8236144"/>
            <a:ext cx="978628" cy="991244"/>
          </a:xfrm>
          <a:custGeom>
            <a:avLst/>
            <a:gdLst/>
            <a:ahLst/>
            <a:cxnLst/>
            <a:rect l="l" t="t" r="r" b="b"/>
            <a:pathLst>
              <a:path w="978628" h="991244">
                <a:moveTo>
                  <a:pt x="0" y="0"/>
                </a:moveTo>
                <a:lnTo>
                  <a:pt x="978628" y="0"/>
                </a:lnTo>
                <a:lnTo>
                  <a:pt x="978628" y="991244"/>
                </a:lnTo>
                <a:lnTo>
                  <a:pt x="0" y="991244"/>
                </a:lnTo>
                <a:lnTo>
                  <a:pt x="0" y="0"/>
                </a:lnTo>
                <a:close/>
              </a:path>
            </a:pathLst>
          </a:custGeom>
          <a:blipFill>
            <a:blip r:embed="rId60">
              <a:extLst>
                <a:ext uri="{96DAC541-7B7A-43D3-8B79-37D633B846F1}">
                  <asvg:svgBlip xmlns:asvg="http://schemas.microsoft.com/office/drawing/2016/SVG/main" r:embed="rId61"/>
                </a:ext>
              </a:extLst>
            </a:blip>
            <a:stretch>
              <a:fillRect/>
            </a:stretch>
          </a:blipFill>
        </p:spPr>
      </p:sp>
      <p:sp>
        <p:nvSpPr>
          <p:cNvPr id="32" name="Freeform 32"/>
          <p:cNvSpPr/>
          <p:nvPr/>
        </p:nvSpPr>
        <p:spPr>
          <a:xfrm>
            <a:off x="11712337" y="8298717"/>
            <a:ext cx="899016" cy="887574"/>
          </a:xfrm>
          <a:custGeom>
            <a:avLst/>
            <a:gdLst/>
            <a:ahLst/>
            <a:cxnLst/>
            <a:rect l="l" t="t" r="r" b="b"/>
            <a:pathLst>
              <a:path w="899016" h="887574">
                <a:moveTo>
                  <a:pt x="0" y="0"/>
                </a:moveTo>
                <a:lnTo>
                  <a:pt x="899016" y="0"/>
                </a:lnTo>
                <a:lnTo>
                  <a:pt x="899016" y="887574"/>
                </a:lnTo>
                <a:lnTo>
                  <a:pt x="0" y="887574"/>
                </a:lnTo>
                <a:lnTo>
                  <a:pt x="0" y="0"/>
                </a:lnTo>
                <a:close/>
              </a:path>
            </a:pathLst>
          </a:custGeom>
          <a:blipFill>
            <a:blip r:embed="rId62">
              <a:extLst>
                <a:ext uri="{96DAC541-7B7A-43D3-8B79-37D633B846F1}">
                  <asvg:svgBlip xmlns:asvg="http://schemas.microsoft.com/office/drawing/2016/SVG/main" r:embed="rId63"/>
                </a:ext>
              </a:extLst>
            </a:blip>
            <a:stretch>
              <a:fillRect/>
            </a:stretch>
          </a:blipFill>
        </p:spPr>
      </p:sp>
      <p:sp>
        <p:nvSpPr>
          <p:cNvPr id="33" name="Freeform 33"/>
          <p:cNvSpPr/>
          <p:nvPr/>
        </p:nvSpPr>
        <p:spPr>
          <a:xfrm>
            <a:off x="11767764" y="5707040"/>
            <a:ext cx="788162" cy="922318"/>
          </a:xfrm>
          <a:custGeom>
            <a:avLst/>
            <a:gdLst/>
            <a:ahLst/>
            <a:cxnLst/>
            <a:rect l="l" t="t" r="r" b="b"/>
            <a:pathLst>
              <a:path w="788162" h="922318">
                <a:moveTo>
                  <a:pt x="0" y="0"/>
                </a:moveTo>
                <a:lnTo>
                  <a:pt x="788162" y="0"/>
                </a:lnTo>
                <a:lnTo>
                  <a:pt x="788162" y="922318"/>
                </a:lnTo>
                <a:lnTo>
                  <a:pt x="0" y="922318"/>
                </a:lnTo>
                <a:lnTo>
                  <a:pt x="0" y="0"/>
                </a:lnTo>
                <a:close/>
              </a:path>
            </a:pathLst>
          </a:custGeom>
          <a:blipFill>
            <a:blip r:embed="rId64">
              <a:extLst>
                <a:ext uri="{96DAC541-7B7A-43D3-8B79-37D633B846F1}">
                  <asvg:svgBlip xmlns:asvg="http://schemas.microsoft.com/office/drawing/2016/SVG/main" r:embed="rId65"/>
                </a:ext>
              </a:extLst>
            </a:blip>
            <a:stretch>
              <a:fillRect/>
            </a:stretch>
          </a:blipFill>
        </p:spPr>
      </p:sp>
      <p:sp>
        <p:nvSpPr>
          <p:cNvPr id="34" name="Freeform 34"/>
          <p:cNvSpPr/>
          <p:nvPr/>
        </p:nvSpPr>
        <p:spPr>
          <a:xfrm>
            <a:off x="4549848" y="6914222"/>
            <a:ext cx="958932" cy="922318"/>
          </a:xfrm>
          <a:custGeom>
            <a:avLst/>
            <a:gdLst/>
            <a:ahLst/>
            <a:cxnLst/>
            <a:rect l="l" t="t" r="r" b="b"/>
            <a:pathLst>
              <a:path w="958932" h="922318">
                <a:moveTo>
                  <a:pt x="0" y="0"/>
                </a:moveTo>
                <a:lnTo>
                  <a:pt x="958932" y="0"/>
                </a:lnTo>
                <a:lnTo>
                  <a:pt x="958932" y="922317"/>
                </a:lnTo>
                <a:lnTo>
                  <a:pt x="0" y="922317"/>
                </a:lnTo>
                <a:lnTo>
                  <a:pt x="0" y="0"/>
                </a:lnTo>
                <a:close/>
              </a:path>
            </a:pathLst>
          </a:custGeom>
          <a:blipFill>
            <a:blip r:embed="rId66">
              <a:extLst>
                <a:ext uri="{96DAC541-7B7A-43D3-8B79-37D633B846F1}">
                  <asvg:svgBlip xmlns:asvg="http://schemas.microsoft.com/office/drawing/2016/SVG/main" r:embed="rId67"/>
                </a:ext>
              </a:extLst>
            </a:blip>
            <a:stretch>
              <a:fillRect/>
            </a:stretch>
          </a:blipFill>
        </p:spPr>
      </p:sp>
      <p:sp>
        <p:nvSpPr>
          <p:cNvPr id="35" name="Freeform 35"/>
          <p:cNvSpPr/>
          <p:nvPr/>
        </p:nvSpPr>
        <p:spPr>
          <a:xfrm>
            <a:off x="3000944" y="6918016"/>
            <a:ext cx="926524" cy="950724"/>
          </a:xfrm>
          <a:custGeom>
            <a:avLst/>
            <a:gdLst/>
            <a:ahLst/>
            <a:cxnLst/>
            <a:rect l="l" t="t" r="r" b="b"/>
            <a:pathLst>
              <a:path w="926524" h="950724">
                <a:moveTo>
                  <a:pt x="0" y="0"/>
                </a:moveTo>
                <a:lnTo>
                  <a:pt x="926524" y="0"/>
                </a:lnTo>
                <a:lnTo>
                  <a:pt x="926524" y="950724"/>
                </a:lnTo>
                <a:lnTo>
                  <a:pt x="0" y="950724"/>
                </a:lnTo>
                <a:lnTo>
                  <a:pt x="0" y="0"/>
                </a:lnTo>
                <a:close/>
              </a:path>
            </a:pathLst>
          </a:custGeom>
          <a:blipFill>
            <a:blip r:embed="rId68">
              <a:extLst>
                <a:ext uri="{96DAC541-7B7A-43D3-8B79-37D633B846F1}">
                  <asvg:svgBlip xmlns:asvg="http://schemas.microsoft.com/office/drawing/2016/SVG/main" r:embed="rId69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/>
          <p:cNvSpPr/>
          <p:nvPr/>
        </p:nvSpPr>
        <p:spPr>
          <a:xfrm>
            <a:off x="1524172" y="7047708"/>
            <a:ext cx="877197" cy="877197"/>
          </a:xfrm>
          <a:custGeom>
            <a:avLst/>
            <a:gdLst/>
            <a:ahLst/>
            <a:cxnLst/>
            <a:rect l="l" t="t" r="r" b="b"/>
            <a:pathLst>
              <a:path w="877197" h="877197">
                <a:moveTo>
                  <a:pt x="0" y="0"/>
                </a:moveTo>
                <a:lnTo>
                  <a:pt x="877197" y="0"/>
                </a:lnTo>
                <a:lnTo>
                  <a:pt x="877197" y="877197"/>
                </a:lnTo>
                <a:lnTo>
                  <a:pt x="0" y="877197"/>
                </a:lnTo>
                <a:lnTo>
                  <a:pt x="0" y="0"/>
                </a:lnTo>
                <a:close/>
              </a:path>
            </a:pathLst>
          </a:custGeom>
          <a:blipFill>
            <a:blip r:embed="rId70">
              <a:extLst>
                <a:ext uri="{96DAC541-7B7A-43D3-8B79-37D633B846F1}">
                  <asvg:svgBlip xmlns:asvg="http://schemas.microsoft.com/office/drawing/2016/SVG/main" r:embed="rId71"/>
                </a:ext>
              </a:extLst>
            </a:blip>
            <a:stretch>
              <a:fillRect/>
            </a:stretch>
          </a:blipFill>
        </p:spPr>
      </p:sp>
      <p:sp>
        <p:nvSpPr>
          <p:cNvPr id="37" name="TextBox 37"/>
          <p:cNvSpPr txBox="1"/>
          <p:nvPr/>
        </p:nvSpPr>
        <p:spPr>
          <a:xfrm>
            <a:off x="5428329" y="1533139"/>
            <a:ext cx="7431342" cy="7978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6463"/>
              </a:lnSpc>
              <a:spcBef>
                <a:spcPct val="0"/>
              </a:spcBef>
            </a:pPr>
            <a:r>
              <a:rPr lang="en-US" sz="4683" spc="163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RESOURCE PAGE</a:t>
            </a:r>
          </a:p>
        </p:txBody>
      </p:sp>
      <p:sp>
        <p:nvSpPr>
          <p:cNvPr id="38" name="Freeform 38"/>
          <p:cNvSpPr/>
          <p:nvPr/>
        </p:nvSpPr>
        <p:spPr>
          <a:xfrm>
            <a:off x="1556939" y="3207047"/>
            <a:ext cx="811663" cy="811663"/>
          </a:xfrm>
          <a:custGeom>
            <a:avLst/>
            <a:gdLst/>
            <a:ahLst/>
            <a:cxnLst/>
            <a:rect l="l" t="t" r="r" b="b"/>
            <a:pathLst>
              <a:path w="811663" h="811663">
                <a:moveTo>
                  <a:pt x="0" y="0"/>
                </a:moveTo>
                <a:lnTo>
                  <a:pt x="811663" y="0"/>
                </a:lnTo>
                <a:lnTo>
                  <a:pt x="811663" y="811663"/>
                </a:lnTo>
                <a:lnTo>
                  <a:pt x="0" y="811663"/>
                </a:lnTo>
                <a:lnTo>
                  <a:pt x="0" y="0"/>
                </a:lnTo>
                <a:close/>
              </a:path>
            </a:pathLst>
          </a:custGeom>
          <a:blipFill>
            <a:blip r:embed="rId72">
              <a:extLst>
                <a:ext uri="{96DAC541-7B7A-43D3-8B79-37D633B846F1}">
                  <asvg:svgBlip xmlns:asvg="http://schemas.microsoft.com/office/drawing/2016/SVG/main" r:embed="rId73"/>
                </a:ext>
              </a:extLst>
            </a:blip>
            <a:stretch>
              <a:fillRect/>
            </a:stretch>
          </a:blipFill>
        </p:spPr>
      </p:sp>
      <p:sp>
        <p:nvSpPr>
          <p:cNvPr id="39" name="Freeform 39"/>
          <p:cNvSpPr/>
          <p:nvPr/>
        </p:nvSpPr>
        <p:spPr>
          <a:xfrm>
            <a:off x="14350139" y="7047481"/>
            <a:ext cx="1064254" cy="799158"/>
          </a:xfrm>
          <a:custGeom>
            <a:avLst/>
            <a:gdLst/>
            <a:ahLst/>
            <a:cxnLst/>
            <a:rect l="l" t="t" r="r" b="b"/>
            <a:pathLst>
              <a:path w="1064254" h="799158">
                <a:moveTo>
                  <a:pt x="0" y="0"/>
                </a:moveTo>
                <a:lnTo>
                  <a:pt x="1064254" y="0"/>
                </a:lnTo>
                <a:lnTo>
                  <a:pt x="1064254" y="799158"/>
                </a:lnTo>
                <a:lnTo>
                  <a:pt x="0" y="799158"/>
                </a:lnTo>
                <a:lnTo>
                  <a:pt x="0" y="0"/>
                </a:lnTo>
                <a:close/>
              </a:path>
            </a:pathLst>
          </a:custGeom>
          <a:blipFill>
            <a:blip r:embed="rId74">
              <a:extLst>
                <a:ext uri="{96DAC541-7B7A-43D3-8B79-37D633B846F1}">
                  <asvg:svgBlip xmlns:asvg="http://schemas.microsoft.com/office/drawing/2016/SVG/main" r:embed="rId75"/>
                </a:ext>
              </a:extLst>
            </a:blip>
            <a:stretch>
              <a:fillRect/>
            </a:stretch>
          </a:blipFill>
        </p:spPr>
      </p:sp>
      <p:sp>
        <p:nvSpPr>
          <p:cNvPr id="40" name="Freeform 40"/>
          <p:cNvSpPr/>
          <p:nvPr/>
        </p:nvSpPr>
        <p:spPr>
          <a:xfrm>
            <a:off x="14531342" y="4378202"/>
            <a:ext cx="701847" cy="977255"/>
          </a:xfrm>
          <a:custGeom>
            <a:avLst/>
            <a:gdLst/>
            <a:ahLst/>
            <a:cxnLst/>
            <a:rect l="l" t="t" r="r" b="b"/>
            <a:pathLst>
              <a:path w="701847" h="977255">
                <a:moveTo>
                  <a:pt x="0" y="0"/>
                </a:moveTo>
                <a:lnTo>
                  <a:pt x="701847" y="0"/>
                </a:lnTo>
                <a:lnTo>
                  <a:pt x="701847" y="977255"/>
                </a:lnTo>
                <a:lnTo>
                  <a:pt x="0" y="977255"/>
                </a:lnTo>
                <a:lnTo>
                  <a:pt x="0" y="0"/>
                </a:lnTo>
                <a:close/>
              </a:path>
            </a:pathLst>
          </a:custGeom>
          <a:blipFill>
            <a:blip r:embed="rId76">
              <a:extLst>
                <a:ext uri="{96DAC541-7B7A-43D3-8B79-37D633B846F1}">
                  <asvg:svgBlip xmlns:asvg="http://schemas.microsoft.com/office/drawing/2016/SVG/main" r:embed="rId77"/>
                </a:ext>
              </a:extLst>
            </a:blip>
            <a:stretch>
              <a:fillRect/>
            </a:stretch>
          </a:blipFill>
        </p:spPr>
      </p:sp>
      <p:sp>
        <p:nvSpPr>
          <p:cNvPr id="41" name="Freeform 41"/>
          <p:cNvSpPr/>
          <p:nvPr/>
        </p:nvSpPr>
        <p:spPr>
          <a:xfrm>
            <a:off x="5983296" y="7123148"/>
            <a:ext cx="734267" cy="745105"/>
          </a:xfrm>
          <a:custGeom>
            <a:avLst/>
            <a:gdLst/>
            <a:ahLst/>
            <a:cxnLst/>
            <a:rect l="l" t="t" r="r" b="b"/>
            <a:pathLst>
              <a:path w="734267" h="745105">
                <a:moveTo>
                  <a:pt x="0" y="0"/>
                </a:moveTo>
                <a:lnTo>
                  <a:pt x="734266" y="0"/>
                </a:lnTo>
                <a:lnTo>
                  <a:pt x="734266" y="745105"/>
                </a:lnTo>
                <a:lnTo>
                  <a:pt x="0" y="745105"/>
                </a:lnTo>
                <a:lnTo>
                  <a:pt x="0" y="0"/>
                </a:lnTo>
                <a:close/>
              </a:path>
            </a:pathLst>
          </a:custGeom>
          <a:blipFill>
            <a:blip r:embed="rId78">
              <a:extLst>
                <a:ext uri="{96DAC541-7B7A-43D3-8B79-37D633B846F1}">
                  <asvg:svgBlip xmlns:asvg="http://schemas.microsoft.com/office/drawing/2016/SVG/main" r:embed="rId79"/>
                </a:ext>
              </a:extLst>
            </a:blip>
            <a:stretch>
              <a:fillRect/>
            </a:stretch>
          </a:blipFill>
        </p:spPr>
      </p:sp>
      <p:sp>
        <p:nvSpPr>
          <p:cNvPr id="42" name="Freeform 42"/>
          <p:cNvSpPr/>
          <p:nvPr/>
        </p:nvSpPr>
        <p:spPr>
          <a:xfrm>
            <a:off x="14308171" y="8247738"/>
            <a:ext cx="1148191" cy="989531"/>
          </a:xfrm>
          <a:custGeom>
            <a:avLst/>
            <a:gdLst/>
            <a:ahLst/>
            <a:cxnLst/>
            <a:rect l="l" t="t" r="r" b="b"/>
            <a:pathLst>
              <a:path w="1148191" h="989531">
                <a:moveTo>
                  <a:pt x="0" y="0"/>
                </a:moveTo>
                <a:lnTo>
                  <a:pt x="1148190" y="0"/>
                </a:lnTo>
                <a:lnTo>
                  <a:pt x="1148190" y="989532"/>
                </a:lnTo>
                <a:lnTo>
                  <a:pt x="0" y="989532"/>
                </a:lnTo>
                <a:lnTo>
                  <a:pt x="0" y="0"/>
                </a:lnTo>
                <a:close/>
              </a:path>
            </a:pathLst>
          </a:custGeom>
          <a:blipFill>
            <a:blip r:embed="rId80">
              <a:extLst>
                <a:ext uri="{96DAC541-7B7A-43D3-8B79-37D633B846F1}">
                  <asvg:svgBlip xmlns:asvg="http://schemas.microsoft.com/office/drawing/2016/SVG/main" r:embed="rId81"/>
                </a:ext>
              </a:extLst>
            </a:blip>
            <a:stretch>
              <a:fillRect/>
            </a:stretch>
          </a:blipFill>
        </p:spPr>
      </p:sp>
      <p:sp>
        <p:nvSpPr>
          <p:cNvPr id="43" name="Freeform 43"/>
          <p:cNvSpPr/>
          <p:nvPr/>
        </p:nvSpPr>
        <p:spPr>
          <a:xfrm>
            <a:off x="9154795" y="8289530"/>
            <a:ext cx="884472" cy="884472"/>
          </a:xfrm>
          <a:custGeom>
            <a:avLst/>
            <a:gdLst/>
            <a:ahLst/>
            <a:cxnLst/>
            <a:rect l="l" t="t" r="r" b="b"/>
            <a:pathLst>
              <a:path w="884472" h="884472">
                <a:moveTo>
                  <a:pt x="0" y="0"/>
                </a:moveTo>
                <a:lnTo>
                  <a:pt x="884472" y="0"/>
                </a:lnTo>
                <a:lnTo>
                  <a:pt x="884472" y="884472"/>
                </a:lnTo>
                <a:lnTo>
                  <a:pt x="0" y="884472"/>
                </a:lnTo>
                <a:lnTo>
                  <a:pt x="0" y="0"/>
                </a:lnTo>
                <a:close/>
              </a:path>
            </a:pathLst>
          </a:custGeom>
          <a:blipFill>
            <a:blip r:embed="rId82">
              <a:extLst>
                <a:ext uri="{96DAC541-7B7A-43D3-8B79-37D633B846F1}">
                  <asvg:svgBlip xmlns:asvg="http://schemas.microsoft.com/office/drawing/2016/SVG/main" r:embed="rId83"/>
                </a:ext>
              </a:extLst>
            </a:blip>
            <a:stretch>
              <a:fillRect/>
            </a:stretch>
          </a:blipFill>
        </p:spPr>
      </p:sp>
      <p:sp>
        <p:nvSpPr>
          <p:cNvPr id="44" name="Freeform 44"/>
          <p:cNvSpPr/>
          <p:nvPr/>
        </p:nvSpPr>
        <p:spPr>
          <a:xfrm>
            <a:off x="7615465" y="6927753"/>
            <a:ext cx="1023765" cy="1040796"/>
          </a:xfrm>
          <a:custGeom>
            <a:avLst/>
            <a:gdLst/>
            <a:ahLst/>
            <a:cxnLst/>
            <a:rect l="l" t="t" r="r" b="b"/>
            <a:pathLst>
              <a:path w="1023765" h="1040796">
                <a:moveTo>
                  <a:pt x="0" y="0"/>
                </a:moveTo>
                <a:lnTo>
                  <a:pt x="1023765" y="0"/>
                </a:lnTo>
                <a:lnTo>
                  <a:pt x="1023765" y="1040796"/>
                </a:lnTo>
                <a:lnTo>
                  <a:pt x="0" y="1040796"/>
                </a:lnTo>
                <a:lnTo>
                  <a:pt x="0" y="0"/>
                </a:lnTo>
                <a:close/>
              </a:path>
            </a:pathLst>
          </a:custGeom>
          <a:blipFill>
            <a:blip r:embed="rId84">
              <a:extLst>
                <a:ext uri="{96DAC541-7B7A-43D3-8B79-37D633B846F1}">
                  <asvg:svgBlip xmlns:asvg="http://schemas.microsoft.com/office/drawing/2016/SVG/main" r:embed="rId85"/>
                </a:ext>
              </a:extLst>
            </a:blip>
            <a:stretch>
              <a:fillRect/>
            </a:stretch>
          </a:blipFill>
        </p:spPr>
      </p:sp>
      <p:sp>
        <p:nvSpPr>
          <p:cNvPr id="45" name="Freeform 45"/>
          <p:cNvSpPr/>
          <p:nvPr/>
        </p:nvSpPr>
        <p:spPr>
          <a:xfrm>
            <a:off x="14531342" y="5628671"/>
            <a:ext cx="1027960" cy="1043133"/>
          </a:xfrm>
          <a:custGeom>
            <a:avLst/>
            <a:gdLst/>
            <a:ahLst/>
            <a:cxnLst/>
            <a:rect l="l" t="t" r="r" b="b"/>
            <a:pathLst>
              <a:path w="1027960" h="1043133">
                <a:moveTo>
                  <a:pt x="0" y="0"/>
                </a:moveTo>
                <a:lnTo>
                  <a:pt x="1027960" y="0"/>
                </a:lnTo>
                <a:lnTo>
                  <a:pt x="1027960" y="1043133"/>
                </a:lnTo>
                <a:lnTo>
                  <a:pt x="0" y="1043133"/>
                </a:lnTo>
                <a:lnTo>
                  <a:pt x="0" y="0"/>
                </a:lnTo>
                <a:close/>
              </a:path>
            </a:pathLst>
          </a:custGeom>
          <a:blipFill>
            <a:blip r:embed="rId86">
              <a:extLst>
                <a:ext uri="{96DAC541-7B7A-43D3-8B79-37D633B846F1}">
                  <asvg:svgBlip xmlns:asvg="http://schemas.microsoft.com/office/drawing/2016/SVG/main" r:embed="rId87"/>
                </a:ext>
              </a:extLst>
            </a:blip>
            <a:stretch>
              <a:fillRect/>
            </a:stretch>
          </a:blipFill>
        </p:spPr>
      </p:sp>
      <p:sp>
        <p:nvSpPr>
          <p:cNvPr id="46" name="Freeform 46"/>
          <p:cNvSpPr/>
          <p:nvPr/>
        </p:nvSpPr>
        <p:spPr>
          <a:xfrm>
            <a:off x="5955642" y="2925089"/>
            <a:ext cx="789574" cy="975879"/>
          </a:xfrm>
          <a:custGeom>
            <a:avLst/>
            <a:gdLst/>
            <a:ahLst/>
            <a:cxnLst/>
            <a:rect l="l" t="t" r="r" b="b"/>
            <a:pathLst>
              <a:path w="789574" h="975879">
                <a:moveTo>
                  <a:pt x="0" y="0"/>
                </a:moveTo>
                <a:lnTo>
                  <a:pt x="789574" y="0"/>
                </a:lnTo>
                <a:lnTo>
                  <a:pt x="789574" y="975878"/>
                </a:lnTo>
                <a:lnTo>
                  <a:pt x="0" y="975878"/>
                </a:lnTo>
                <a:lnTo>
                  <a:pt x="0" y="0"/>
                </a:lnTo>
                <a:close/>
              </a:path>
            </a:pathLst>
          </a:custGeom>
          <a:blipFill>
            <a:blip r:embed="rId88">
              <a:extLst>
                <a:ext uri="{96DAC541-7B7A-43D3-8B79-37D633B846F1}">
                  <asvg:svgBlip xmlns:asvg="http://schemas.microsoft.com/office/drawing/2016/SVG/main" r:embed="rId89"/>
                </a:ext>
              </a:extLst>
            </a:blip>
            <a:stretch>
              <a:fillRect/>
            </a:stretch>
          </a:blipFill>
        </p:spPr>
      </p:sp>
      <p:sp>
        <p:nvSpPr>
          <p:cNvPr id="47" name="Freeform 47"/>
          <p:cNvSpPr/>
          <p:nvPr/>
        </p:nvSpPr>
        <p:spPr>
          <a:xfrm>
            <a:off x="8905425" y="3007423"/>
            <a:ext cx="1181705" cy="887353"/>
          </a:xfrm>
          <a:custGeom>
            <a:avLst/>
            <a:gdLst/>
            <a:ahLst/>
            <a:cxnLst/>
            <a:rect l="l" t="t" r="r" b="b"/>
            <a:pathLst>
              <a:path w="1181705" h="887353">
                <a:moveTo>
                  <a:pt x="0" y="0"/>
                </a:moveTo>
                <a:lnTo>
                  <a:pt x="1181705" y="0"/>
                </a:lnTo>
                <a:lnTo>
                  <a:pt x="1181705" y="887353"/>
                </a:lnTo>
                <a:lnTo>
                  <a:pt x="0" y="887353"/>
                </a:lnTo>
                <a:lnTo>
                  <a:pt x="0" y="0"/>
                </a:lnTo>
                <a:close/>
              </a:path>
            </a:pathLst>
          </a:custGeom>
          <a:blipFill>
            <a:blip r:embed="rId74">
              <a:extLst>
                <a:ext uri="{96DAC541-7B7A-43D3-8B79-37D633B846F1}">
                  <asvg:svgBlip xmlns:asvg="http://schemas.microsoft.com/office/drawing/2016/SVG/main" r:embed="rId75"/>
                </a:ext>
              </a:extLst>
            </a:blip>
            <a:stretch>
              <a:fillRect/>
            </a:stretch>
          </a:blipFill>
        </p:spPr>
      </p:sp>
      <p:sp>
        <p:nvSpPr>
          <p:cNvPr id="48" name="Freeform 48"/>
          <p:cNvSpPr/>
          <p:nvPr/>
        </p:nvSpPr>
        <p:spPr>
          <a:xfrm>
            <a:off x="11744428" y="2989914"/>
            <a:ext cx="964077" cy="978307"/>
          </a:xfrm>
          <a:custGeom>
            <a:avLst/>
            <a:gdLst/>
            <a:ahLst/>
            <a:cxnLst/>
            <a:rect l="l" t="t" r="r" b="b"/>
            <a:pathLst>
              <a:path w="964077" h="978307">
                <a:moveTo>
                  <a:pt x="0" y="0"/>
                </a:moveTo>
                <a:lnTo>
                  <a:pt x="964077" y="0"/>
                </a:lnTo>
                <a:lnTo>
                  <a:pt x="964077" y="978307"/>
                </a:lnTo>
                <a:lnTo>
                  <a:pt x="0" y="978307"/>
                </a:lnTo>
                <a:lnTo>
                  <a:pt x="0" y="0"/>
                </a:lnTo>
                <a:close/>
              </a:path>
            </a:pathLst>
          </a:custGeom>
          <a:blipFill>
            <a:blip r:embed="rId78">
              <a:extLst>
                <a:ext uri="{96DAC541-7B7A-43D3-8B79-37D633B846F1}">
                  <asvg:svgBlip xmlns:asvg="http://schemas.microsoft.com/office/drawing/2016/SVG/main" r:embed="rId79"/>
                </a:ext>
              </a:extLst>
            </a:blip>
            <a:stretch>
              <a:fillRect/>
            </a:stretch>
          </a:blipFill>
        </p:spPr>
      </p:sp>
      <p:sp>
        <p:nvSpPr>
          <p:cNvPr id="49" name="Freeform 49"/>
          <p:cNvSpPr/>
          <p:nvPr/>
        </p:nvSpPr>
        <p:spPr>
          <a:xfrm>
            <a:off x="2924660" y="2948351"/>
            <a:ext cx="1079092" cy="1061434"/>
          </a:xfrm>
          <a:custGeom>
            <a:avLst/>
            <a:gdLst/>
            <a:ahLst/>
            <a:cxnLst/>
            <a:rect l="l" t="t" r="r" b="b"/>
            <a:pathLst>
              <a:path w="1079092" h="1061434">
                <a:moveTo>
                  <a:pt x="0" y="0"/>
                </a:moveTo>
                <a:lnTo>
                  <a:pt x="1079092" y="0"/>
                </a:lnTo>
                <a:lnTo>
                  <a:pt x="1079092" y="1061434"/>
                </a:lnTo>
                <a:lnTo>
                  <a:pt x="0" y="1061434"/>
                </a:lnTo>
                <a:lnTo>
                  <a:pt x="0" y="0"/>
                </a:lnTo>
                <a:close/>
              </a:path>
            </a:pathLst>
          </a:custGeom>
          <a:blipFill>
            <a:blip r:embed="rId90">
              <a:extLst>
                <a:ext uri="{96DAC541-7B7A-43D3-8B79-37D633B846F1}">
                  <asvg:svgBlip xmlns:asvg="http://schemas.microsoft.com/office/drawing/2016/SVG/main" r:embed="rId91"/>
                </a:ext>
              </a:extLst>
            </a:blip>
            <a:stretch>
              <a:fillRect/>
            </a:stretch>
          </a:blipFill>
        </p:spPr>
      </p:sp>
      <p:sp>
        <p:nvSpPr>
          <p:cNvPr id="50" name="Freeform 50"/>
          <p:cNvSpPr/>
          <p:nvPr/>
        </p:nvSpPr>
        <p:spPr>
          <a:xfrm>
            <a:off x="7314188" y="2906412"/>
            <a:ext cx="1236499" cy="858804"/>
          </a:xfrm>
          <a:custGeom>
            <a:avLst/>
            <a:gdLst/>
            <a:ahLst/>
            <a:cxnLst/>
            <a:rect l="l" t="t" r="r" b="b"/>
            <a:pathLst>
              <a:path w="1236499" h="858804">
                <a:moveTo>
                  <a:pt x="0" y="0"/>
                </a:moveTo>
                <a:lnTo>
                  <a:pt x="1236498" y="0"/>
                </a:lnTo>
                <a:lnTo>
                  <a:pt x="1236498" y="858804"/>
                </a:lnTo>
                <a:lnTo>
                  <a:pt x="0" y="858804"/>
                </a:lnTo>
                <a:lnTo>
                  <a:pt x="0" y="0"/>
                </a:lnTo>
                <a:close/>
              </a:path>
            </a:pathLst>
          </a:custGeom>
          <a:blipFill>
            <a:blip r:embed="rId92">
              <a:extLst>
                <a:ext uri="{96DAC541-7B7A-43D3-8B79-37D633B846F1}">
                  <asvg:svgBlip xmlns:asvg="http://schemas.microsoft.com/office/drawing/2016/SVG/main" r:embed="rId93"/>
                </a:ext>
              </a:extLst>
            </a:blip>
            <a:stretch>
              <a:fillRect/>
            </a:stretch>
          </a:blipFill>
        </p:spPr>
      </p:sp>
      <p:sp>
        <p:nvSpPr>
          <p:cNvPr id="51" name="Freeform 51"/>
          <p:cNvSpPr/>
          <p:nvPr/>
        </p:nvSpPr>
        <p:spPr>
          <a:xfrm>
            <a:off x="4507710" y="2906412"/>
            <a:ext cx="1043208" cy="1029931"/>
          </a:xfrm>
          <a:custGeom>
            <a:avLst/>
            <a:gdLst/>
            <a:ahLst/>
            <a:cxnLst/>
            <a:rect l="l" t="t" r="r" b="b"/>
            <a:pathLst>
              <a:path w="1043208" h="1029931">
                <a:moveTo>
                  <a:pt x="0" y="0"/>
                </a:moveTo>
                <a:lnTo>
                  <a:pt x="1043208" y="0"/>
                </a:lnTo>
                <a:lnTo>
                  <a:pt x="1043208" y="1029930"/>
                </a:lnTo>
                <a:lnTo>
                  <a:pt x="0" y="1029930"/>
                </a:lnTo>
                <a:lnTo>
                  <a:pt x="0" y="0"/>
                </a:lnTo>
                <a:close/>
              </a:path>
            </a:pathLst>
          </a:custGeom>
          <a:blipFill>
            <a:blip r:embed="rId94">
              <a:extLst>
                <a:ext uri="{96DAC541-7B7A-43D3-8B79-37D633B846F1}">
                  <asvg:svgBlip xmlns:asvg="http://schemas.microsoft.com/office/drawing/2016/SVG/main" r:embed="rId95"/>
                </a:ext>
              </a:extLst>
            </a:blip>
            <a:stretch>
              <a:fillRect/>
            </a:stretch>
          </a:blipFill>
        </p:spPr>
      </p:sp>
      <p:sp>
        <p:nvSpPr>
          <p:cNvPr id="52" name="Freeform 52"/>
          <p:cNvSpPr/>
          <p:nvPr/>
        </p:nvSpPr>
        <p:spPr>
          <a:xfrm>
            <a:off x="10546588" y="2987227"/>
            <a:ext cx="893040" cy="1072428"/>
          </a:xfrm>
          <a:custGeom>
            <a:avLst/>
            <a:gdLst/>
            <a:ahLst/>
            <a:cxnLst/>
            <a:rect l="l" t="t" r="r" b="b"/>
            <a:pathLst>
              <a:path w="893040" h="1072428">
                <a:moveTo>
                  <a:pt x="0" y="0"/>
                </a:moveTo>
                <a:lnTo>
                  <a:pt x="893040" y="0"/>
                </a:lnTo>
                <a:lnTo>
                  <a:pt x="893040" y="1072428"/>
                </a:lnTo>
                <a:lnTo>
                  <a:pt x="0" y="1072428"/>
                </a:lnTo>
                <a:lnTo>
                  <a:pt x="0" y="0"/>
                </a:lnTo>
                <a:close/>
              </a:path>
            </a:pathLst>
          </a:custGeom>
          <a:blipFill>
            <a:blip r:embed="rId96">
              <a:extLst>
                <a:ext uri="{96DAC541-7B7A-43D3-8B79-37D633B846F1}">
                  <asvg:svgBlip xmlns:asvg="http://schemas.microsoft.com/office/drawing/2016/SVG/main" r:embed="rId97"/>
                </a:ext>
              </a:extLst>
            </a:blip>
            <a:stretch>
              <a:fillRect/>
            </a:stretch>
          </a:blipFill>
        </p:spPr>
      </p:sp>
      <p:sp>
        <p:nvSpPr>
          <p:cNvPr id="53" name="Freeform 53"/>
          <p:cNvSpPr/>
          <p:nvPr/>
        </p:nvSpPr>
        <p:spPr>
          <a:xfrm>
            <a:off x="14531342" y="3003043"/>
            <a:ext cx="1023765" cy="1040796"/>
          </a:xfrm>
          <a:custGeom>
            <a:avLst/>
            <a:gdLst/>
            <a:ahLst/>
            <a:cxnLst/>
            <a:rect l="l" t="t" r="r" b="b"/>
            <a:pathLst>
              <a:path w="1023765" h="1040796">
                <a:moveTo>
                  <a:pt x="0" y="0"/>
                </a:moveTo>
                <a:lnTo>
                  <a:pt x="1023766" y="0"/>
                </a:lnTo>
                <a:lnTo>
                  <a:pt x="1023766" y="1040796"/>
                </a:lnTo>
                <a:lnTo>
                  <a:pt x="0" y="1040796"/>
                </a:lnTo>
                <a:lnTo>
                  <a:pt x="0" y="0"/>
                </a:lnTo>
                <a:close/>
              </a:path>
            </a:pathLst>
          </a:custGeom>
          <a:blipFill>
            <a:blip r:embed="rId84">
              <a:extLst>
                <a:ext uri="{96DAC541-7B7A-43D3-8B79-37D633B846F1}">
                  <asvg:svgBlip xmlns:asvg="http://schemas.microsoft.com/office/drawing/2016/SVG/main" r:embed="rId85"/>
                </a:ext>
              </a:extLst>
            </a:blip>
            <a:stretch>
              <a:fillRect/>
            </a:stretch>
          </a:blipFill>
        </p:spPr>
      </p:sp>
      <p:sp>
        <p:nvSpPr>
          <p:cNvPr id="54" name="Freeform 54"/>
          <p:cNvSpPr/>
          <p:nvPr/>
        </p:nvSpPr>
        <p:spPr>
          <a:xfrm>
            <a:off x="13260955" y="2906412"/>
            <a:ext cx="980529" cy="1070022"/>
          </a:xfrm>
          <a:custGeom>
            <a:avLst/>
            <a:gdLst/>
            <a:ahLst/>
            <a:cxnLst/>
            <a:rect l="l" t="t" r="r" b="b"/>
            <a:pathLst>
              <a:path w="980529" h="1070022">
                <a:moveTo>
                  <a:pt x="0" y="0"/>
                </a:moveTo>
                <a:lnTo>
                  <a:pt x="980529" y="0"/>
                </a:lnTo>
                <a:lnTo>
                  <a:pt x="980529" y="1070021"/>
                </a:lnTo>
                <a:lnTo>
                  <a:pt x="0" y="1070021"/>
                </a:lnTo>
                <a:lnTo>
                  <a:pt x="0" y="0"/>
                </a:lnTo>
                <a:close/>
              </a:path>
            </a:pathLst>
          </a:custGeom>
          <a:blipFill>
            <a:blip r:embed="rId98">
              <a:extLst>
                <a:ext uri="{96DAC541-7B7A-43D3-8B79-37D633B846F1}">
                  <asvg:svgBlip xmlns:asvg="http://schemas.microsoft.com/office/drawing/2016/SVG/main" r:embed="rId99"/>
                </a:ext>
              </a:extLst>
            </a:blip>
            <a:stretch>
              <a:fillRect/>
            </a:stretch>
          </a:blipFill>
        </p:spPr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58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6000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2">
            <a:extLst>
              <a:ext uri="{FF2B5EF4-FFF2-40B4-BE49-F238E27FC236}">
                <a16:creationId xmlns:a16="http://schemas.microsoft.com/office/drawing/2014/main" id="{53AB513C-E241-DD5D-4C66-B6898A40CF09}"/>
              </a:ext>
            </a:extLst>
          </p:cNvPr>
          <p:cNvSpPr/>
          <p:nvPr/>
        </p:nvSpPr>
        <p:spPr>
          <a:xfrm>
            <a:off x="2709877" y="1880305"/>
            <a:ext cx="12868242" cy="2445995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algn="ctr"/>
            <a:r>
              <a:rPr lang="en-IN" sz="5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IN" sz="7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Basaveshwar</a:t>
            </a:r>
            <a:r>
              <a:rPr lang="en-IN" sz="7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 Engineering College </a:t>
            </a:r>
            <a:r>
              <a:rPr lang="en-IN" sz="72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Bagalkote</a:t>
            </a:r>
            <a:endParaRPr lang="en-US" sz="5400" dirty="0">
              <a:solidFill>
                <a:schemeClr val="tx1">
                  <a:lumMod val="95000"/>
                  <a:lumOff val="5000"/>
                </a:schemeClr>
              </a:solidFill>
              <a:latin typeface="Arial Rounded MT Bold" panose="020F07040305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CA9309AA-1775-D091-6026-DEF7EFD75C0E}"/>
              </a:ext>
            </a:extLst>
          </p:cNvPr>
          <p:cNvSpPr/>
          <p:nvPr/>
        </p:nvSpPr>
        <p:spPr>
          <a:xfrm>
            <a:off x="2948002" y="4329722"/>
            <a:ext cx="12391992" cy="1432925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algn="ctr"/>
            <a:r>
              <a:rPr lang="en-IN" sz="4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Department of Artificial Intelligence and   Machine Learning </a:t>
            </a:r>
          </a:p>
          <a:p>
            <a:pPr algn="ctr"/>
            <a:endParaRPr lang="en-IN" sz="4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IN" sz="4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MINI PROJECT </a:t>
            </a:r>
          </a:p>
        </p:txBody>
      </p:sp>
      <p:sp>
        <p:nvSpPr>
          <p:cNvPr id="6" name="Text 5">
            <a:extLst>
              <a:ext uri="{FF2B5EF4-FFF2-40B4-BE49-F238E27FC236}">
                <a16:creationId xmlns:a16="http://schemas.microsoft.com/office/drawing/2014/main" id="{2E738BE4-5645-98B3-52E1-2A295B6C2D50}"/>
              </a:ext>
            </a:extLst>
          </p:cNvPr>
          <p:cNvSpPr/>
          <p:nvPr/>
        </p:nvSpPr>
        <p:spPr>
          <a:xfrm>
            <a:off x="4343398" y="7059953"/>
            <a:ext cx="9601200" cy="778133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algn="ctr"/>
            <a:r>
              <a:rPr lang="en-US" sz="4800" b="1" u="sng" spc="172" dirty="0">
                <a:solidFill>
                  <a:schemeClr val="tx2"/>
                </a:solidFill>
                <a:latin typeface="Arial Black" panose="020B0A04020102020204" pitchFamily="34" charset="0"/>
                <a:ea typeface="Archivo Black"/>
                <a:cs typeface="Archivo Black"/>
                <a:sym typeface="Archivo Black"/>
              </a:rPr>
              <a:t>Detection of Kidney Stones</a:t>
            </a:r>
          </a:p>
          <a:p>
            <a:pPr>
              <a:lnSpc>
                <a:spcPts val="4253"/>
              </a:lnSpc>
            </a:pPr>
            <a:endParaRPr lang="en-US" sz="4800" b="1" dirty="0">
              <a:solidFill>
                <a:schemeClr val="tx2"/>
              </a:solidFill>
              <a:latin typeface="Arial Black" panose="020B0A0402010202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4253"/>
              </a:lnSpc>
            </a:pPr>
            <a:endParaRPr lang="en-US" sz="4800" b="1" dirty="0">
              <a:solidFill>
                <a:schemeClr val="tx2"/>
              </a:solidFill>
              <a:latin typeface="Arial Black" panose="020B0A0402010202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4253"/>
              </a:lnSpc>
            </a:pPr>
            <a:endParaRPr lang="en-US" sz="4800" b="1" dirty="0">
              <a:solidFill>
                <a:schemeClr val="tx2"/>
              </a:solidFill>
              <a:latin typeface="Arial Black" panose="020B0A0402010202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4253"/>
              </a:lnSpc>
            </a:pPr>
            <a:endParaRPr lang="en-US" sz="4800" b="1" dirty="0">
              <a:solidFill>
                <a:schemeClr val="tx2"/>
              </a:solidFill>
              <a:latin typeface="Arial Black" panose="020B0A040201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ACC70F-107E-ED7A-645A-8C52F714FE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5298" y="100015"/>
            <a:ext cx="2057400" cy="178029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B2467B8-2439-83EF-2A24-F9166E16CD29}"/>
              </a:ext>
            </a:extLst>
          </p:cNvPr>
          <p:cNvSpPr txBox="1"/>
          <p:nvPr/>
        </p:nvSpPr>
        <p:spPr>
          <a:xfrm>
            <a:off x="2517831" y="8245405"/>
            <a:ext cx="13252338" cy="1779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43000">
              <a:lnSpc>
                <a:spcPts val="4253"/>
              </a:lnSpc>
              <a:defRPr/>
            </a:pPr>
            <a:r>
              <a:rPr lang="en-US" sz="38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 coordinate:                                             Project Guide:</a:t>
            </a:r>
          </a:p>
          <a:p>
            <a:pPr algn="ctr" defTabSz="1143000">
              <a:lnSpc>
                <a:spcPts val="4253"/>
              </a:lnSpc>
              <a:defRPr/>
            </a:pPr>
            <a:r>
              <a:rPr lang="en-US" sz="3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Prof. L.P. </a:t>
            </a:r>
            <a:r>
              <a:rPr lang="en-US" sz="38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olur</a:t>
            </a:r>
            <a:r>
              <a:rPr lang="en-US" sz="3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                             Dr. </a:t>
            </a:r>
            <a:r>
              <a:rPr lang="en-US" sz="38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.C.Kagawade</a:t>
            </a:r>
            <a:endParaRPr lang="en-US" sz="38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IN" sz="38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170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9591DE-381A-5D46-60CA-D863C890873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3608" y="1"/>
            <a:ext cx="18002252" cy="10287002"/>
          </a:xfrm>
          <a:prstGeom prst="rect">
            <a:avLst/>
          </a:prstGeom>
          <a:blipFill dpi="0" rotWithShape="1">
            <a:blip r:embed="rId5">
              <a:alphaModFix amt="62000"/>
            </a:blip>
            <a:srcRect/>
            <a:stretch>
              <a:fillRect/>
            </a:stretch>
          </a:blipFill>
        </p:spPr>
      </p:pic>
      <p:sp>
        <p:nvSpPr>
          <p:cNvPr id="137" name="dark purple rectangle">
            <a:extLst>
              <a:ext uri="{FF2B5EF4-FFF2-40B4-BE49-F238E27FC236}">
                <a16:creationId xmlns:a16="http://schemas.microsoft.com/office/drawing/2014/main" id="{CCA520F1-0DCA-09FA-9A11-4EEFA0C23ACA}"/>
              </a:ext>
            </a:extLst>
          </p:cNvPr>
          <p:cNvSpPr/>
          <p:nvPr/>
        </p:nvSpPr>
        <p:spPr>
          <a:xfrm>
            <a:off x="0" y="10384001"/>
            <a:ext cx="18288000" cy="10287000"/>
          </a:xfrm>
          <a:prstGeom prst="rect">
            <a:avLst/>
          </a:prstGeom>
          <a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4379"/>
                      </a14:imgEffect>
                      <a14:imgEffect>
                        <a14:brightnessContrast contrast="-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9525" cap="flat">
            <a:noFill/>
            <a:prstDash val="solid"/>
            <a:miter/>
          </a:ln>
        </p:spPr>
        <p:txBody>
          <a:bodyPr rtlCol="0" anchor="ctr">
            <a:normAutofit/>
          </a:bodyPr>
          <a:lstStyle/>
          <a:p>
            <a:pPr algn="l"/>
            <a:endParaRPr lang="en-GB" sz="270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5D40E2D-B8D9-108C-7554-C2EC573EA77B}"/>
              </a:ext>
            </a:extLst>
          </p:cNvPr>
          <p:cNvGrpSpPr/>
          <p:nvPr/>
        </p:nvGrpSpPr>
        <p:grpSpPr>
          <a:xfrm>
            <a:off x="7126394" y="20768001"/>
            <a:ext cx="4035207" cy="3461030"/>
            <a:chOff x="4750929" y="1047003"/>
            <a:chExt cx="2690138" cy="2307353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C42D090-6755-17E0-191E-FE08F01C4F28}"/>
                </a:ext>
              </a:extLst>
            </p:cNvPr>
            <p:cNvSpPr txBox="1"/>
            <p:nvPr/>
          </p:nvSpPr>
          <p:spPr>
            <a:xfrm>
              <a:off x="4750929" y="2118633"/>
              <a:ext cx="2690138" cy="1235723"/>
            </a:xfrm>
            <a:prstGeom prst="rect">
              <a:avLst/>
            </a:prstGeom>
            <a:noFill/>
          </p:spPr>
          <p:txBody>
            <a:bodyPr wrap="none" lIns="0" tIns="0" rIns="0" bIns="0" anchor="t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3000" i="0" u="none" strike="noStrike" cap="none" normalizeH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 SemiBold" panose="00000700000000000000" pitchFamily="2" charset="0"/>
                  <a:cs typeface="Poppins SemiBold" panose="00000700000000000000" pitchFamily="2" charset="0"/>
                </a:defRPr>
              </a:lvl1pPr>
            </a:lstStyle>
            <a:p>
              <a:pPr algn="ctr">
                <a:lnSpc>
                  <a:spcPct val="110000"/>
                </a:lnSpc>
              </a:pPr>
              <a:r>
                <a:rPr lang="en-US" sz="2400" spc="45">
                  <a:latin typeface="+mj-lt"/>
                </a:rPr>
                <a:t>PowerPoint Website</a:t>
              </a:r>
            </a:p>
            <a:p>
              <a:pPr algn="ctr">
                <a:lnSpc>
                  <a:spcPct val="110000"/>
                </a:lnSpc>
              </a:pPr>
              <a:r>
                <a:rPr lang="en-US" sz="9000">
                  <a:latin typeface="+mj-lt"/>
                </a:rPr>
                <a:t>Features</a:t>
              </a:r>
              <a:endParaRPr lang="en-US" sz="10200">
                <a:latin typeface="+mj-lt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57FCF27-3ACF-313E-70B0-591920FD2280}"/>
                </a:ext>
              </a:extLst>
            </p:cNvPr>
            <p:cNvGrpSpPr/>
            <p:nvPr/>
          </p:nvGrpSpPr>
          <p:grpSpPr>
            <a:xfrm>
              <a:off x="5697693" y="1047003"/>
              <a:ext cx="796614" cy="756406"/>
              <a:chOff x="12007741" y="4587406"/>
              <a:chExt cx="3777691" cy="3587030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427A1A13-AFDD-D3A6-1D73-278F7C4579B0}"/>
                  </a:ext>
                </a:extLst>
              </p:cNvPr>
              <p:cNvSpPr/>
              <p:nvPr/>
            </p:nvSpPr>
            <p:spPr>
              <a:xfrm>
                <a:off x="12198402" y="4587406"/>
                <a:ext cx="3587030" cy="3587030"/>
              </a:xfrm>
              <a:prstGeom prst="ellipse">
                <a:avLst/>
              </a:prstGeom>
              <a:gradFill>
                <a:gsLst>
                  <a:gs pos="0">
                    <a:srgbClr val="FF924C"/>
                  </a:gs>
                  <a:gs pos="100000">
                    <a:srgbClr val="FF595E">
                      <a:lumMod val="75000"/>
                    </a:srgbClr>
                  </a:gs>
                </a:gsLst>
                <a:lin ang="8100000" scaled="1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1371600">
                  <a:defRPr/>
                </a:pPr>
                <a:endParaRPr lang="en-US" sz="1350" kern="0">
                  <a:solidFill>
                    <a:prstClr val="white"/>
                  </a:solidFill>
                  <a:latin typeface="Raleway Light"/>
                </a:endParaRPr>
              </a:p>
            </p:txBody>
          </p:sp>
          <p:sp>
            <p:nvSpPr>
              <p:cNvPr id="14" name="Freeform: Shape 37">
                <a:extLst>
                  <a:ext uri="{FF2B5EF4-FFF2-40B4-BE49-F238E27FC236}">
                    <a16:creationId xmlns:a16="http://schemas.microsoft.com/office/drawing/2014/main" id="{B6F9AFCB-D110-3732-7791-539E7EFED288}"/>
                  </a:ext>
                </a:extLst>
              </p:cNvPr>
              <p:cNvSpPr/>
              <p:nvPr/>
            </p:nvSpPr>
            <p:spPr>
              <a:xfrm>
                <a:off x="14025365" y="4587406"/>
                <a:ext cx="1758227" cy="1917481"/>
              </a:xfrm>
              <a:custGeom>
                <a:avLst/>
                <a:gdLst>
                  <a:gd name="connsiteX0" fmla="*/ 0 w 1758230"/>
                  <a:gd name="connsiteY0" fmla="*/ 0 h 1917482"/>
                  <a:gd name="connsiteX1" fmla="*/ 148092 w 1758230"/>
                  <a:gd name="connsiteY1" fmla="*/ 7478 h 1917482"/>
                  <a:gd name="connsiteX2" fmla="*/ 1758230 w 1758230"/>
                  <a:gd name="connsiteY2" fmla="*/ 1791733 h 1917482"/>
                  <a:gd name="connsiteX3" fmla="*/ 1751880 w 1758230"/>
                  <a:gd name="connsiteY3" fmla="*/ 1917482 h 1917482"/>
                  <a:gd name="connsiteX4" fmla="*/ 0 w 1758230"/>
                  <a:gd name="connsiteY4" fmla="*/ 1917482 h 1917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8230" h="1917482">
                    <a:moveTo>
                      <a:pt x="0" y="0"/>
                    </a:moveTo>
                    <a:lnTo>
                      <a:pt x="148092" y="7478"/>
                    </a:lnTo>
                    <a:cubicBezTo>
                      <a:pt x="1052482" y="99324"/>
                      <a:pt x="1758230" y="863110"/>
                      <a:pt x="1758230" y="1791733"/>
                    </a:cubicBezTo>
                    <a:lnTo>
                      <a:pt x="1751880" y="1917482"/>
                    </a:lnTo>
                    <a:lnTo>
                      <a:pt x="0" y="191748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924C"/>
                  </a:gs>
                  <a:gs pos="100000">
                    <a:srgbClr val="FF595E">
                      <a:lumMod val="66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1371600">
                  <a:defRPr/>
                </a:pPr>
                <a:endParaRPr lang="en-US" sz="1350" kern="0">
                  <a:solidFill>
                    <a:prstClr val="white"/>
                  </a:solidFill>
                  <a:latin typeface="Raleway Light"/>
                </a:endParaRPr>
              </a:p>
            </p:txBody>
          </p:sp>
          <p:sp>
            <p:nvSpPr>
              <p:cNvPr id="15" name="Rectangle: Rounded Corners 38">
                <a:extLst>
                  <a:ext uri="{FF2B5EF4-FFF2-40B4-BE49-F238E27FC236}">
                    <a16:creationId xmlns:a16="http://schemas.microsoft.com/office/drawing/2014/main" id="{A556C201-4540-3F58-0445-BEC66614AD8C}"/>
                  </a:ext>
                </a:extLst>
              </p:cNvPr>
              <p:cNvSpPr/>
              <p:nvPr/>
            </p:nvSpPr>
            <p:spPr>
              <a:xfrm>
                <a:off x="12007741" y="5421024"/>
                <a:ext cx="2017625" cy="1919795"/>
              </a:xfrm>
              <a:prstGeom prst="roundRect">
                <a:avLst>
                  <a:gd name="adj" fmla="val 8608"/>
                </a:avLst>
              </a:prstGeom>
              <a:gradFill flip="none" rotWithShape="1">
                <a:gsLst>
                  <a:gs pos="0">
                    <a:srgbClr val="FF924C"/>
                  </a:gs>
                  <a:gs pos="100000">
                    <a:srgbClr val="FF595E">
                      <a:lumMod val="66000"/>
                    </a:srgb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outerShdw blurRad="127000" dist="38100" dir="2700000" algn="tl" rotWithShape="0">
                  <a:srgbClr val="820808">
                    <a:alpha val="60000"/>
                  </a:srgb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sz="1350" kern="0">
                  <a:solidFill>
                    <a:prstClr val="white"/>
                  </a:solidFill>
                  <a:latin typeface="Raleway Light"/>
                </a:endParaRPr>
              </a:p>
            </p:txBody>
          </p:sp>
          <p:sp>
            <p:nvSpPr>
              <p:cNvPr id="16" name="Freeform: Shape 39">
                <a:extLst>
                  <a:ext uri="{FF2B5EF4-FFF2-40B4-BE49-F238E27FC236}">
                    <a16:creationId xmlns:a16="http://schemas.microsoft.com/office/drawing/2014/main" id="{A34AFE66-19F7-7FEF-0021-DA98B1449314}"/>
                  </a:ext>
                </a:extLst>
              </p:cNvPr>
              <p:cNvSpPr/>
              <p:nvPr/>
            </p:nvSpPr>
            <p:spPr>
              <a:xfrm>
                <a:off x="12685471" y="5829393"/>
                <a:ext cx="737893" cy="994125"/>
              </a:xfrm>
              <a:custGeom>
                <a:avLst/>
                <a:gdLst/>
                <a:ahLst/>
                <a:cxnLst/>
                <a:rect l="l" t="t" r="r" b="b"/>
                <a:pathLst>
                  <a:path w="737893" h="994125">
                    <a:moveTo>
                      <a:pt x="193225" y="169422"/>
                    </a:moveTo>
                    <a:lnTo>
                      <a:pt x="193225" y="491462"/>
                    </a:lnTo>
                    <a:lnTo>
                      <a:pt x="417253" y="491462"/>
                    </a:lnTo>
                    <a:cubicBezTo>
                      <a:pt x="440589" y="491462"/>
                      <a:pt x="461592" y="484928"/>
                      <a:pt x="480260" y="471859"/>
                    </a:cubicBezTo>
                    <a:cubicBezTo>
                      <a:pt x="498930" y="458791"/>
                      <a:pt x="513865" y="439889"/>
                      <a:pt x="525066" y="415152"/>
                    </a:cubicBezTo>
                    <a:cubicBezTo>
                      <a:pt x="536268" y="390416"/>
                      <a:pt x="541868" y="362179"/>
                      <a:pt x="541868" y="330442"/>
                    </a:cubicBezTo>
                    <a:cubicBezTo>
                      <a:pt x="541868" y="295904"/>
                      <a:pt x="535567" y="266500"/>
                      <a:pt x="522966" y="242231"/>
                    </a:cubicBezTo>
                    <a:cubicBezTo>
                      <a:pt x="510364" y="217961"/>
                      <a:pt x="494029" y="199759"/>
                      <a:pt x="473960" y="187624"/>
                    </a:cubicBezTo>
                    <a:cubicBezTo>
                      <a:pt x="453890" y="175489"/>
                      <a:pt x="432188" y="169422"/>
                      <a:pt x="408852" y="169422"/>
                    </a:cubicBezTo>
                    <a:close/>
                    <a:moveTo>
                      <a:pt x="0" y="0"/>
                    </a:moveTo>
                    <a:lnTo>
                      <a:pt x="421453" y="0"/>
                    </a:lnTo>
                    <a:cubicBezTo>
                      <a:pt x="467192" y="0"/>
                      <a:pt x="509197" y="9335"/>
                      <a:pt x="547469" y="28004"/>
                    </a:cubicBezTo>
                    <a:cubicBezTo>
                      <a:pt x="585740" y="46673"/>
                      <a:pt x="619111" y="71876"/>
                      <a:pt x="647581" y="103613"/>
                    </a:cubicBezTo>
                    <a:cubicBezTo>
                      <a:pt x="676052" y="135351"/>
                      <a:pt x="698221" y="170822"/>
                      <a:pt x="714090" y="210027"/>
                    </a:cubicBezTo>
                    <a:cubicBezTo>
                      <a:pt x="729958" y="249232"/>
                      <a:pt x="737893" y="289370"/>
                      <a:pt x="737893" y="330442"/>
                    </a:cubicBezTo>
                    <a:cubicBezTo>
                      <a:pt x="737893" y="386449"/>
                      <a:pt x="724824" y="439655"/>
                      <a:pt x="698688" y="490062"/>
                    </a:cubicBezTo>
                    <a:cubicBezTo>
                      <a:pt x="672551" y="540468"/>
                      <a:pt x="636613" y="581540"/>
                      <a:pt x="590874" y="613277"/>
                    </a:cubicBezTo>
                    <a:cubicBezTo>
                      <a:pt x="545135" y="645014"/>
                      <a:pt x="490995" y="660883"/>
                      <a:pt x="428454" y="660883"/>
                    </a:cubicBezTo>
                    <a:lnTo>
                      <a:pt x="193225" y="660883"/>
                    </a:lnTo>
                    <a:lnTo>
                      <a:pt x="193225" y="994125"/>
                    </a:lnTo>
                    <a:lnTo>
                      <a:pt x="0" y="994125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1371600">
                  <a:defRPr/>
                </a:pPr>
                <a:endParaRPr lang="en-US" sz="1350" kern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639472B-5D2A-A259-A6CE-2ED82F9F0E99}"/>
              </a:ext>
            </a:extLst>
          </p:cNvPr>
          <p:cNvSpPr txBox="1"/>
          <p:nvPr/>
        </p:nvSpPr>
        <p:spPr>
          <a:xfrm>
            <a:off x="3960097" y="463541"/>
            <a:ext cx="10289933" cy="1661993"/>
          </a:xfrm>
          <a:prstGeom prst="rect">
            <a:avLst/>
          </a:prstGeom>
          <a:noFill/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i="0" u="none" strike="noStrike" cap="none" normalizeH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0800" u="sng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GROUP MEMBERS</a:t>
            </a:r>
            <a:endParaRPr lang="en-US" sz="9900" u="sng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D2788FE6-C063-2B92-EE1B-38184842CA01}"/>
              </a:ext>
            </a:extLst>
          </p:cNvPr>
          <p:cNvGrpSpPr/>
          <p:nvPr/>
        </p:nvGrpSpPr>
        <p:grpSpPr>
          <a:xfrm>
            <a:off x="2814906" y="24984013"/>
            <a:ext cx="2913942" cy="3230613"/>
            <a:chOff x="1876604" y="3601131"/>
            <a:chExt cx="1942628" cy="2153742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5FB7B899-4ACF-2568-BAE5-A2431BA3EA0B}"/>
                </a:ext>
              </a:extLst>
            </p:cNvPr>
            <p:cNvSpPr/>
            <p:nvPr/>
          </p:nvSpPr>
          <p:spPr>
            <a:xfrm>
              <a:off x="2114493" y="4535566"/>
              <a:ext cx="1466850" cy="381000"/>
            </a:xfrm>
            <a:prstGeom prst="roundRect">
              <a:avLst>
                <a:gd name="adj" fmla="val 23333"/>
              </a:avLst>
            </a:prstGeom>
            <a:gradFill flip="none" rotWithShape="1">
              <a:gsLst>
                <a:gs pos="0">
                  <a:srgbClr val="FF924C"/>
                </a:gs>
                <a:gs pos="100000">
                  <a:srgbClr val="FF595E">
                    <a:lumMod val="66000"/>
                  </a:srgbClr>
                </a:gs>
              </a:gsLst>
              <a:lin ang="81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kern="0" dirty="0">
                  <a:solidFill>
                    <a:prstClr val="white"/>
                  </a:solidFill>
                  <a:latin typeface="+mj-lt"/>
                </a:rPr>
                <a:t>Animations</a:t>
              </a:r>
            </a:p>
          </p:txBody>
        </p:sp>
        <p:pic>
          <p:nvPicPr>
            <p:cNvPr id="85" name="Graphic 84" descr="Magic Wand Auto outline">
              <a:extLst>
                <a:ext uri="{FF2B5EF4-FFF2-40B4-BE49-F238E27FC236}">
                  <a16:creationId xmlns:a16="http://schemas.microsoft.com/office/drawing/2014/main" id="{53F40DC5-2752-920C-B29A-328227EB9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471397" y="3601131"/>
              <a:ext cx="752568" cy="752566"/>
            </a:xfrm>
            <a:prstGeom prst="rect">
              <a:avLst/>
            </a:prstGeom>
          </p:spPr>
        </p:pic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C487474-667A-EB9A-7576-6300484EEC4E}"/>
                </a:ext>
              </a:extLst>
            </p:cNvPr>
            <p:cNvSpPr txBox="1"/>
            <p:nvPr/>
          </p:nvSpPr>
          <p:spPr>
            <a:xfrm>
              <a:off x="1876604" y="5170867"/>
              <a:ext cx="1942628" cy="58400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i="0" u="none" strike="noStrike" cap="none" normalizeH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 Light" panose="00000400000000000000" pitchFamily="2" charset="0"/>
                  <a:cs typeface="Poppins Light" panose="00000400000000000000" pitchFamily="2" charset="0"/>
                </a:defRPr>
              </a:lvl1pPr>
            </a:lstStyle>
            <a:p>
              <a:pPr>
                <a:lnSpc>
                  <a:spcPct val="130000"/>
                </a:lnSpc>
              </a:pPr>
              <a:r>
                <a:rPr lang="en-GB" sz="1500" spc="39" dirty="0">
                  <a:latin typeface="+mn-lt"/>
                  <a:cs typeface="Poppins" panose="00000500000000000000" pitchFamily="2" charset="0"/>
                </a:rPr>
                <a:t>Animated website elements such as text and</a:t>
              </a:r>
            </a:p>
            <a:p>
              <a:pPr>
                <a:lnSpc>
                  <a:spcPct val="130000"/>
                </a:lnSpc>
              </a:pPr>
              <a:r>
                <a:rPr lang="en-GB" sz="1500" spc="39" dirty="0">
                  <a:latin typeface="+mn-lt"/>
                  <a:cs typeface="Poppins" panose="00000500000000000000" pitchFamily="2" charset="0"/>
                </a:rPr>
                <a:t>pictures</a:t>
              </a:r>
              <a:endParaRPr lang="en-US" sz="1500" spc="39" dirty="0">
                <a:latin typeface="+mn-lt"/>
                <a:cs typeface="Poppins" panose="00000500000000000000" pitchFamily="2" charset="0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037BFC5B-02A2-9DFE-7D92-BF067B41F099}"/>
              </a:ext>
            </a:extLst>
          </p:cNvPr>
          <p:cNvGrpSpPr/>
          <p:nvPr/>
        </p:nvGrpSpPr>
        <p:grpSpPr>
          <a:xfrm>
            <a:off x="6202421" y="24984013"/>
            <a:ext cx="2913942" cy="3230613"/>
            <a:chOff x="4134947" y="3601131"/>
            <a:chExt cx="1942628" cy="2153742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AD523EFB-8A8E-D2B5-30E1-8BBF04F33279}"/>
                </a:ext>
              </a:extLst>
            </p:cNvPr>
            <p:cNvSpPr/>
            <p:nvPr/>
          </p:nvSpPr>
          <p:spPr>
            <a:xfrm>
              <a:off x="4372836" y="4535566"/>
              <a:ext cx="1466850" cy="381000"/>
            </a:xfrm>
            <a:prstGeom prst="roundRect">
              <a:avLst>
                <a:gd name="adj" fmla="val 23333"/>
              </a:avLst>
            </a:prstGeom>
            <a:gradFill flip="none" rotWithShape="1">
              <a:gsLst>
                <a:gs pos="0">
                  <a:srgbClr val="FF924C"/>
                </a:gs>
                <a:gs pos="100000">
                  <a:srgbClr val="FF595E">
                    <a:lumMod val="66000"/>
                  </a:srgbClr>
                </a:gs>
              </a:gsLst>
              <a:lin ang="81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kern="0" dirty="0">
                  <a:solidFill>
                    <a:prstClr val="white"/>
                  </a:solidFill>
                  <a:latin typeface="+mj-lt"/>
                </a:rPr>
                <a:t>Menu</a:t>
              </a:r>
            </a:p>
          </p:txBody>
        </p:sp>
        <p:pic>
          <p:nvPicPr>
            <p:cNvPr id="89" name="Graphic 88" descr="Touchscreen outline">
              <a:extLst>
                <a:ext uri="{FF2B5EF4-FFF2-40B4-BE49-F238E27FC236}">
                  <a16:creationId xmlns:a16="http://schemas.microsoft.com/office/drawing/2014/main" id="{42CDC1BC-58FE-E9AC-7BD5-04980603F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4729741" y="3601131"/>
              <a:ext cx="752566" cy="752566"/>
            </a:xfrm>
            <a:prstGeom prst="rect">
              <a:avLst/>
            </a:prstGeom>
          </p:spPr>
        </p:pic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0BC66CF-3309-3043-FB90-BDFE8A07F98D}"/>
                </a:ext>
              </a:extLst>
            </p:cNvPr>
            <p:cNvSpPr txBox="1"/>
            <p:nvPr/>
          </p:nvSpPr>
          <p:spPr>
            <a:xfrm>
              <a:off x="4134947" y="5170867"/>
              <a:ext cx="1942628" cy="58400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i="0" u="none" strike="noStrike" cap="none" normalizeH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 Light" panose="00000400000000000000" pitchFamily="2" charset="0"/>
                  <a:cs typeface="Poppins Light" panose="00000400000000000000" pitchFamily="2" charset="0"/>
                </a:defRPr>
              </a:lvl1pPr>
            </a:lstStyle>
            <a:p>
              <a:pPr>
                <a:lnSpc>
                  <a:spcPct val="130000"/>
                </a:lnSpc>
              </a:pPr>
              <a:r>
                <a:rPr lang="en-GB" sz="1500" spc="39" dirty="0">
                  <a:latin typeface="+mn-lt"/>
                  <a:cs typeface="Poppins" panose="00000500000000000000" pitchFamily="2" charset="0"/>
                </a:rPr>
                <a:t>Clickable menu with</a:t>
              </a:r>
            </a:p>
            <a:p>
              <a:pPr>
                <a:lnSpc>
                  <a:spcPct val="130000"/>
                </a:lnSpc>
              </a:pPr>
              <a:r>
                <a:rPr lang="en-GB" sz="1500" spc="39" dirty="0">
                  <a:latin typeface="+mn-lt"/>
                  <a:cs typeface="Poppins" panose="00000500000000000000" pitchFamily="2" charset="0"/>
                </a:rPr>
                <a:t>active selection</a:t>
              </a:r>
            </a:p>
            <a:p>
              <a:pPr>
                <a:lnSpc>
                  <a:spcPct val="130000"/>
                </a:lnSpc>
              </a:pPr>
              <a:r>
                <a:rPr lang="en-GB" sz="1500" spc="39" dirty="0">
                  <a:latin typeface="+mn-lt"/>
                  <a:cs typeface="Poppins" panose="00000500000000000000" pitchFamily="2" charset="0"/>
                </a:rPr>
                <a:t>indication</a:t>
              </a:r>
              <a:endParaRPr lang="en-US" sz="1500" spc="39" dirty="0">
                <a:latin typeface="+mn-lt"/>
                <a:cs typeface="Poppins" panose="00000500000000000000" pitchFamily="2" charset="0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8A148615-F0AE-182E-8200-C3EA6ADCAC2F}"/>
              </a:ext>
            </a:extLst>
          </p:cNvPr>
          <p:cNvGrpSpPr/>
          <p:nvPr/>
        </p:nvGrpSpPr>
        <p:grpSpPr>
          <a:xfrm>
            <a:off x="9695070" y="24984013"/>
            <a:ext cx="2913942" cy="3230613"/>
            <a:chOff x="6463380" y="3601131"/>
            <a:chExt cx="1942628" cy="2153742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18D3EA9A-9B54-E619-E959-389FA4A6A426}"/>
                </a:ext>
              </a:extLst>
            </p:cNvPr>
            <p:cNvSpPr/>
            <p:nvPr/>
          </p:nvSpPr>
          <p:spPr>
            <a:xfrm>
              <a:off x="6701269" y="4535566"/>
              <a:ext cx="1466850" cy="381000"/>
            </a:xfrm>
            <a:prstGeom prst="roundRect">
              <a:avLst>
                <a:gd name="adj" fmla="val 23333"/>
              </a:avLst>
            </a:prstGeom>
            <a:gradFill flip="none" rotWithShape="1">
              <a:gsLst>
                <a:gs pos="0">
                  <a:srgbClr val="FF924C"/>
                </a:gs>
                <a:gs pos="100000">
                  <a:srgbClr val="FF595E">
                    <a:lumMod val="66000"/>
                  </a:srgbClr>
                </a:gs>
              </a:gsLst>
              <a:lin ang="81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kern="0">
                  <a:solidFill>
                    <a:prstClr val="white"/>
                  </a:solidFill>
                  <a:latin typeface="+mj-lt"/>
                </a:rPr>
                <a:t>Parallax</a:t>
              </a:r>
            </a:p>
          </p:txBody>
        </p:sp>
        <p:pic>
          <p:nvPicPr>
            <p:cNvPr id="93" name="Graphic 92" descr="Images outline">
              <a:extLst>
                <a:ext uri="{FF2B5EF4-FFF2-40B4-BE49-F238E27FC236}">
                  <a16:creationId xmlns:a16="http://schemas.microsoft.com/office/drawing/2014/main" id="{51349244-6435-7A92-6F7A-17E949EDE5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7058174" y="3601131"/>
              <a:ext cx="752566" cy="752566"/>
            </a:xfrm>
            <a:prstGeom prst="rect">
              <a:avLst/>
            </a:prstGeom>
          </p:spPr>
        </p:pic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E2B7A6F0-0C47-6D1F-ECC7-FDB32E28BBC6}"/>
                </a:ext>
              </a:extLst>
            </p:cNvPr>
            <p:cNvSpPr txBox="1"/>
            <p:nvPr/>
          </p:nvSpPr>
          <p:spPr>
            <a:xfrm>
              <a:off x="6463380" y="5170867"/>
              <a:ext cx="1942628" cy="58400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i="0" u="none" strike="noStrike" cap="none" normalizeH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 Light" panose="00000400000000000000" pitchFamily="2" charset="0"/>
                  <a:cs typeface="Poppins Light" panose="00000400000000000000" pitchFamily="2" charset="0"/>
                </a:defRPr>
              </a:lvl1pPr>
            </a:lstStyle>
            <a:p>
              <a:pPr>
                <a:lnSpc>
                  <a:spcPct val="130000"/>
                </a:lnSpc>
              </a:pPr>
              <a:r>
                <a:rPr lang="en-GB" sz="1500" spc="39" dirty="0">
                  <a:latin typeface="+mn-lt"/>
                  <a:cs typeface="Poppins" panose="00000500000000000000" pitchFamily="2" charset="0"/>
                </a:rPr>
                <a:t>Parallax scroll effect</a:t>
              </a:r>
            </a:p>
            <a:p>
              <a:pPr>
                <a:lnSpc>
                  <a:spcPct val="130000"/>
                </a:lnSpc>
              </a:pPr>
              <a:r>
                <a:rPr lang="en-GB" sz="1500" spc="39" dirty="0">
                  <a:latin typeface="+mn-lt"/>
                  <a:cs typeface="Poppins" panose="00000500000000000000" pitchFamily="2" charset="0"/>
                </a:rPr>
                <a:t>added to section</a:t>
              </a:r>
            </a:p>
            <a:p>
              <a:pPr>
                <a:lnSpc>
                  <a:spcPct val="130000"/>
                </a:lnSpc>
              </a:pPr>
              <a:r>
                <a:rPr lang="en-GB" sz="1500" spc="39" dirty="0">
                  <a:latin typeface="+mn-lt"/>
                  <a:cs typeface="Poppins" panose="00000500000000000000" pitchFamily="2" charset="0"/>
                </a:rPr>
                <a:t>backgrounds</a:t>
              </a:r>
              <a:endParaRPr lang="en-US" sz="1500" spc="39" dirty="0">
                <a:latin typeface="+mn-lt"/>
                <a:cs typeface="Poppins" panose="00000500000000000000" pitchFamily="2" charset="0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53096FC-CB3B-C2A5-46E7-1743A804CDDB}"/>
              </a:ext>
            </a:extLst>
          </p:cNvPr>
          <p:cNvGrpSpPr/>
          <p:nvPr/>
        </p:nvGrpSpPr>
        <p:grpSpPr>
          <a:xfrm>
            <a:off x="13285509" y="24984013"/>
            <a:ext cx="2913942" cy="3230613"/>
            <a:chOff x="8857006" y="3601131"/>
            <a:chExt cx="1942628" cy="2153742"/>
          </a:xfrm>
        </p:grpSpPr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C252DB0E-1782-35A5-64A3-405F47342F05}"/>
                </a:ext>
              </a:extLst>
            </p:cNvPr>
            <p:cNvSpPr/>
            <p:nvPr/>
          </p:nvSpPr>
          <p:spPr>
            <a:xfrm>
              <a:off x="9094895" y="4535566"/>
              <a:ext cx="1466850" cy="381000"/>
            </a:xfrm>
            <a:prstGeom prst="roundRect">
              <a:avLst>
                <a:gd name="adj" fmla="val 23333"/>
              </a:avLst>
            </a:prstGeom>
            <a:gradFill flip="none" rotWithShape="1">
              <a:gsLst>
                <a:gs pos="0">
                  <a:srgbClr val="FF924C"/>
                </a:gs>
                <a:gs pos="100000">
                  <a:srgbClr val="FF595E">
                    <a:lumMod val="66000"/>
                  </a:srgbClr>
                </a:gs>
              </a:gsLst>
              <a:lin ang="81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2400" kern="0">
                  <a:solidFill>
                    <a:prstClr val="white"/>
                  </a:solidFill>
                  <a:latin typeface="+mj-lt"/>
                </a:rPr>
                <a:t>3D Models</a:t>
              </a:r>
            </a:p>
          </p:txBody>
        </p:sp>
        <p:pic>
          <p:nvPicPr>
            <p:cNvPr id="97" name="Graphic 96" descr="Astronaut male outline">
              <a:extLst>
                <a:ext uri="{FF2B5EF4-FFF2-40B4-BE49-F238E27FC236}">
                  <a16:creationId xmlns:a16="http://schemas.microsoft.com/office/drawing/2014/main" id="{780AD044-DB01-3618-CF6F-5D72B564CE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9451800" y="3601131"/>
              <a:ext cx="752566" cy="752566"/>
            </a:xfrm>
            <a:prstGeom prst="rect">
              <a:avLst/>
            </a:prstGeom>
          </p:spPr>
        </p:pic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53E91E5-A560-3104-B703-B5E49EBFFF31}"/>
                </a:ext>
              </a:extLst>
            </p:cNvPr>
            <p:cNvSpPr txBox="1"/>
            <p:nvPr/>
          </p:nvSpPr>
          <p:spPr>
            <a:xfrm>
              <a:off x="8857006" y="5170867"/>
              <a:ext cx="1942628" cy="58400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i="0" u="none" strike="noStrike" cap="none" normalizeH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oppins Light" panose="00000400000000000000" pitchFamily="2" charset="0"/>
                  <a:cs typeface="Poppins Light" panose="00000400000000000000" pitchFamily="2" charset="0"/>
                </a:defRPr>
              </a:lvl1pPr>
            </a:lstStyle>
            <a:p>
              <a:pPr>
                <a:lnSpc>
                  <a:spcPct val="130000"/>
                </a:lnSpc>
              </a:pPr>
              <a:r>
                <a:rPr lang="en-US" sz="1500" spc="39" dirty="0">
                  <a:latin typeface="+mn-lt"/>
                  <a:cs typeface="Poppins" panose="00000500000000000000" pitchFamily="2" charset="0"/>
                </a:rPr>
                <a:t>That astronaut is actually</a:t>
              </a:r>
            </a:p>
            <a:p>
              <a:pPr>
                <a:lnSpc>
                  <a:spcPct val="130000"/>
                </a:lnSpc>
              </a:pPr>
              <a:r>
                <a:rPr lang="en-US" sz="1500" spc="39" dirty="0">
                  <a:latin typeface="+mn-lt"/>
                  <a:cs typeface="Poppins" panose="00000500000000000000" pitchFamily="2" charset="0"/>
                </a:rPr>
                <a:t>just an image with a motion path animation</a:t>
              </a:r>
            </a:p>
          </p:txBody>
        </p:sp>
      </p:grp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BDC361AC-29D6-45C3-75E3-49F17E020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4447347"/>
              </p:ext>
            </p:extLst>
          </p:nvPr>
        </p:nvGraphicFramePr>
        <p:xfrm>
          <a:off x="2584516" y="2721063"/>
          <a:ext cx="13118961" cy="5933456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831998">
                  <a:extLst>
                    <a:ext uri="{9D8B030D-6E8A-4147-A177-3AD203B41FA5}">
                      <a16:colId xmlns:a16="http://schemas.microsoft.com/office/drawing/2014/main" val="1688199312"/>
                    </a:ext>
                  </a:extLst>
                </a:gridCol>
                <a:gridCol w="7656195">
                  <a:extLst>
                    <a:ext uri="{9D8B030D-6E8A-4147-A177-3AD203B41FA5}">
                      <a16:colId xmlns:a16="http://schemas.microsoft.com/office/drawing/2014/main" val="3474032326"/>
                    </a:ext>
                  </a:extLst>
                </a:gridCol>
                <a:gridCol w="3630768">
                  <a:extLst>
                    <a:ext uri="{9D8B030D-6E8A-4147-A177-3AD203B41FA5}">
                      <a16:colId xmlns:a16="http://schemas.microsoft.com/office/drawing/2014/main" val="3589516201"/>
                    </a:ext>
                  </a:extLst>
                </a:gridCol>
              </a:tblGrid>
              <a:tr h="1111409">
                <a:tc>
                  <a:txBody>
                    <a:bodyPr/>
                    <a:lstStyle/>
                    <a:p>
                      <a:pPr algn="ctr"/>
                      <a:r>
                        <a:rPr lang="en-IN" sz="4200" dirty="0">
                          <a:latin typeface="Algerian" panose="04020705040A02060702" pitchFamily="82" charset="0"/>
                        </a:rPr>
                        <a:t>SL.NO</a:t>
                      </a:r>
                    </a:p>
                  </a:txBody>
                  <a:tcPr marL="137160" marR="137160" marT="21600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8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200" dirty="0">
                          <a:latin typeface="Algerian" panose="04020705040A02060702" pitchFamily="82" charset="0"/>
                        </a:rPr>
                        <a:t>NAME</a:t>
                      </a:r>
                    </a:p>
                  </a:txBody>
                  <a:tcPr marL="137160" marR="137160" marT="21600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8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200" dirty="0">
                          <a:latin typeface="Algerian" panose="04020705040A02060702" pitchFamily="82" charset="0"/>
                        </a:rPr>
                        <a:t>USN</a:t>
                      </a:r>
                    </a:p>
                  </a:txBody>
                  <a:tcPr marL="137160" marR="137160" marT="21600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8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627439"/>
                  </a:ext>
                </a:extLst>
              </a:tr>
              <a:tr h="1310588"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.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Harish G Rolli</a:t>
                      </a:r>
                    </a:p>
                  </a:txBody>
                  <a:tcPr marL="137160" marR="137160" marT="68580" marB="54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2BA21AI021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362022"/>
                  </a:ext>
                </a:extLst>
              </a:tr>
              <a:tr h="1203548"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2.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Subramanya Ratnakar</a:t>
                      </a:r>
                    </a:p>
                  </a:txBody>
                  <a:tcPr marL="137160" marR="137160" marT="68580" marB="54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2BA21AI052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963225"/>
                  </a:ext>
                </a:extLst>
              </a:tr>
              <a:tr h="1196502"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.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 err="1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Mohanrao</a:t>
                      </a:r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Kulkarni 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2BA21AI028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811284"/>
                  </a:ext>
                </a:extLst>
              </a:tr>
              <a:tr h="1111409"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4.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 err="1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Veeresh</a:t>
                      </a:r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IN" sz="4800" b="1" dirty="0" err="1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Pattanad</a:t>
                      </a:r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4800" b="1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2BA21AI061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3A45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808235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8769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  <p:txBody>
          <a:bodyPr/>
          <a:lstStyle/>
          <a:p>
            <a:endParaRPr lang="en-IN"/>
          </a:p>
        </p:txBody>
      </p:sp>
      <p:grpSp>
        <p:nvGrpSpPr>
          <p:cNvPr id="3" name="Group 3"/>
          <p:cNvGrpSpPr/>
          <p:nvPr/>
        </p:nvGrpSpPr>
        <p:grpSpPr>
          <a:xfrm rot="5400000">
            <a:off x="8599743" y="-4717334"/>
            <a:ext cx="1088513" cy="18288000"/>
            <a:chOff x="0" y="0"/>
            <a:chExt cx="286687" cy="4816593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86687" cy="4816592"/>
            </a:xfrm>
            <a:custGeom>
              <a:avLst/>
              <a:gdLst/>
              <a:ahLst/>
              <a:cxnLst/>
              <a:rect l="l" t="t" r="r" b="b"/>
              <a:pathLst>
                <a:path w="286687" h="4816592">
                  <a:moveTo>
                    <a:pt x="0" y="0"/>
                  </a:moveTo>
                  <a:lnTo>
                    <a:pt x="286687" y="0"/>
                  </a:lnTo>
                  <a:lnTo>
                    <a:pt x="286687" y="4816592"/>
                  </a:lnTo>
                  <a:lnTo>
                    <a:pt x="0" y="4816592"/>
                  </a:lnTo>
                  <a:close/>
                </a:path>
              </a:pathLst>
            </a:custGeom>
            <a:gradFill rotWithShape="1">
              <a:gsLst>
                <a:gs pos="0">
                  <a:srgbClr val="696969">
                    <a:alpha val="72000"/>
                  </a:srgbClr>
                </a:gs>
                <a:gs pos="33333">
                  <a:srgbClr val="B4B4B4">
                    <a:alpha val="82500"/>
                  </a:srgbClr>
                </a:gs>
                <a:gs pos="66667">
                  <a:srgbClr val="EEEEEE">
                    <a:alpha val="70500"/>
                  </a:srgbClr>
                </a:gs>
                <a:gs pos="100000">
                  <a:srgbClr val="FBFBFB">
                    <a:alpha val="22000"/>
                  </a:srgbClr>
                </a:gs>
              </a:gsLst>
              <a:lin ang="0"/>
            </a:gradFill>
            <a:ln cap="sq">
              <a:noFill/>
              <a:prstDash val="solid"/>
              <a:miter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19050"/>
              <a:ext cx="286687" cy="483564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6" name="Freeform 6"/>
          <p:cNvSpPr/>
          <p:nvPr/>
        </p:nvSpPr>
        <p:spPr>
          <a:xfrm>
            <a:off x="-72330" y="-1790700"/>
            <a:ext cx="18436530" cy="5715000"/>
          </a:xfrm>
          <a:custGeom>
            <a:avLst/>
            <a:gdLst/>
            <a:ahLst/>
            <a:cxnLst/>
            <a:rect l="l" t="t" r="r" b="b"/>
            <a:pathLst>
              <a:path w="18270100" h="4165455">
                <a:moveTo>
                  <a:pt x="0" y="0"/>
                </a:moveTo>
                <a:lnTo>
                  <a:pt x="18270100" y="0"/>
                </a:lnTo>
                <a:lnTo>
                  <a:pt x="18270100" y="4165455"/>
                </a:lnTo>
                <a:lnTo>
                  <a:pt x="0" y="416545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 b="-46134"/>
            </a:stretch>
          </a:blipFill>
        </p:spPr>
      </p:sp>
      <p:sp>
        <p:nvSpPr>
          <p:cNvPr id="7" name="TextBox 7"/>
          <p:cNvSpPr txBox="1"/>
          <p:nvPr/>
        </p:nvSpPr>
        <p:spPr>
          <a:xfrm>
            <a:off x="4559819" y="1357867"/>
            <a:ext cx="9168362" cy="16958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3774"/>
              </a:lnSpc>
            </a:pPr>
            <a:r>
              <a:rPr lang="en-US" sz="9981" spc="79">
                <a:solidFill>
                  <a:srgbClr val="FFFFFF"/>
                </a:solidFill>
                <a:latin typeface="Archivo Black"/>
                <a:ea typeface="Archivo Black"/>
                <a:cs typeface="Archivo Black"/>
                <a:sym typeface="Archivo Black"/>
              </a:rPr>
              <a:t>CONTENT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3268002" y="4884459"/>
            <a:ext cx="1840320" cy="10487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8627"/>
              </a:lnSpc>
              <a:spcBef>
                <a:spcPct val="0"/>
              </a:spcBef>
            </a:pPr>
            <a:r>
              <a:rPr lang="en-US" sz="6251" u="none" strike="noStrike" spc="331" dirty="0">
                <a:solidFill>
                  <a:srgbClr val="231F2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01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2816452" y="5977979"/>
            <a:ext cx="2743420" cy="3847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indent="0" algn="ctr">
              <a:lnSpc>
                <a:spcPts val="2955"/>
              </a:lnSpc>
              <a:buNone/>
            </a:pPr>
            <a:r>
              <a:rPr lang="en-IN" sz="2800" dirty="0"/>
              <a:t>Introduction</a:t>
            </a:r>
            <a:endParaRPr lang="en-US" sz="2800" dirty="0"/>
          </a:p>
        </p:txBody>
      </p:sp>
      <p:sp>
        <p:nvSpPr>
          <p:cNvPr id="10" name="TextBox 10"/>
          <p:cNvSpPr txBox="1"/>
          <p:nvPr/>
        </p:nvSpPr>
        <p:spPr>
          <a:xfrm>
            <a:off x="6544248" y="4928291"/>
            <a:ext cx="1840320" cy="10487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8627"/>
              </a:lnSpc>
              <a:spcBef>
                <a:spcPct val="0"/>
              </a:spcBef>
            </a:pPr>
            <a:r>
              <a:rPr lang="en-US" sz="6251" spc="331">
                <a:solidFill>
                  <a:srgbClr val="231F2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02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6092698" y="5958011"/>
            <a:ext cx="2743420" cy="428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83"/>
              </a:lnSpc>
            </a:pPr>
            <a:r>
              <a:rPr lang="en-IN" sz="2800" dirty="0"/>
              <a:t>Literature Survey</a:t>
            </a:r>
            <a:endParaRPr lang="en-US" sz="2524" spc="247" dirty="0">
              <a:solidFill>
                <a:srgbClr val="231F2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2" name="TextBox 12"/>
          <p:cNvSpPr txBox="1"/>
          <p:nvPr/>
        </p:nvSpPr>
        <p:spPr>
          <a:xfrm>
            <a:off x="9820494" y="4884459"/>
            <a:ext cx="1840320" cy="10487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8627"/>
              </a:lnSpc>
              <a:spcBef>
                <a:spcPct val="0"/>
              </a:spcBef>
            </a:pPr>
            <a:r>
              <a:rPr lang="en-US" sz="6251" spc="331">
                <a:solidFill>
                  <a:srgbClr val="231F2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03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9368943" y="6010827"/>
            <a:ext cx="2743420" cy="428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83"/>
              </a:lnSpc>
            </a:pPr>
            <a:r>
              <a:rPr lang="en-IN" sz="2800" dirty="0"/>
              <a:t>Challenges</a:t>
            </a:r>
            <a:endParaRPr lang="en-US" sz="2524" spc="247" dirty="0">
              <a:solidFill>
                <a:srgbClr val="231F2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4" name="TextBox 14"/>
          <p:cNvSpPr txBox="1"/>
          <p:nvPr/>
        </p:nvSpPr>
        <p:spPr>
          <a:xfrm>
            <a:off x="13094326" y="4928291"/>
            <a:ext cx="1840320" cy="10487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8627"/>
              </a:lnSpc>
              <a:spcBef>
                <a:spcPct val="0"/>
              </a:spcBef>
            </a:pPr>
            <a:r>
              <a:rPr lang="en-US" sz="6251" spc="331">
                <a:solidFill>
                  <a:srgbClr val="231F2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04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12642776" y="5958011"/>
            <a:ext cx="2743420" cy="8789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83"/>
              </a:lnSpc>
            </a:pPr>
            <a:r>
              <a:rPr lang="en-IN" sz="2800" dirty="0"/>
              <a:t>Problem Statement</a:t>
            </a:r>
            <a:endParaRPr lang="en-US" sz="2524" spc="247" dirty="0">
              <a:solidFill>
                <a:srgbClr val="231F2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6" name="TextBox 16"/>
          <p:cNvSpPr txBox="1"/>
          <p:nvPr/>
        </p:nvSpPr>
        <p:spPr>
          <a:xfrm>
            <a:off x="3276953" y="6989520"/>
            <a:ext cx="1840320" cy="10487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8627"/>
              </a:lnSpc>
              <a:spcBef>
                <a:spcPct val="0"/>
              </a:spcBef>
            </a:pPr>
            <a:r>
              <a:rPr lang="en-US" sz="6251" spc="331">
                <a:solidFill>
                  <a:srgbClr val="231F2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05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2825402" y="8019240"/>
            <a:ext cx="2743420" cy="8789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83"/>
              </a:lnSpc>
            </a:pPr>
            <a:r>
              <a:rPr lang="en-IN" sz="2800" dirty="0"/>
              <a:t>Proposed Methodology</a:t>
            </a:r>
            <a:endParaRPr lang="en-US" sz="2524" spc="247" dirty="0">
              <a:solidFill>
                <a:srgbClr val="231F2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8" name="TextBox 18"/>
          <p:cNvSpPr txBox="1"/>
          <p:nvPr/>
        </p:nvSpPr>
        <p:spPr>
          <a:xfrm>
            <a:off x="6553198" y="7033352"/>
            <a:ext cx="1840320" cy="10487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8627"/>
              </a:lnSpc>
              <a:spcBef>
                <a:spcPct val="0"/>
              </a:spcBef>
            </a:pPr>
            <a:r>
              <a:rPr lang="en-US" sz="6251" spc="331">
                <a:solidFill>
                  <a:srgbClr val="231F2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06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6101648" y="8063072"/>
            <a:ext cx="2743420" cy="428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83"/>
              </a:lnSpc>
            </a:pPr>
            <a:r>
              <a:rPr lang="en-IN" sz="2800" dirty="0"/>
              <a:t>Advantages</a:t>
            </a:r>
            <a:endParaRPr lang="en-US" sz="2524" spc="247" dirty="0">
              <a:solidFill>
                <a:srgbClr val="231F2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0" name="TextBox 20"/>
          <p:cNvSpPr txBox="1"/>
          <p:nvPr/>
        </p:nvSpPr>
        <p:spPr>
          <a:xfrm>
            <a:off x="9829444" y="6989520"/>
            <a:ext cx="1840320" cy="10487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8627"/>
              </a:lnSpc>
              <a:spcBef>
                <a:spcPct val="0"/>
              </a:spcBef>
            </a:pPr>
            <a:r>
              <a:rPr lang="en-US" sz="6251" spc="331">
                <a:solidFill>
                  <a:srgbClr val="231F2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07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9377894" y="8019240"/>
            <a:ext cx="2743420" cy="428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83"/>
              </a:lnSpc>
            </a:pPr>
            <a:r>
              <a:rPr lang="en-IN" sz="2800" dirty="0"/>
              <a:t>Applications</a:t>
            </a:r>
            <a:endParaRPr lang="en-US" sz="2524" spc="247" dirty="0">
              <a:solidFill>
                <a:srgbClr val="231F2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2" name="TextBox 22"/>
          <p:cNvSpPr txBox="1"/>
          <p:nvPr/>
        </p:nvSpPr>
        <p:spPr>
          <a:xfrm>
            <a:off x="13103276" y="7033352"/>
            <a:ext cx="1840320" cy="10487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8627"/>
              </a:lnSpc>
              <a:spcBef>
                <a:spcPct val="0"/>
              </a:spcBef>
            </a:pPr>
            <a:r>
              <a:rPr lang="en-US" sz="6251" spc="331" dirty="0">
                <a:solidFill>
                  <a:srgbClr val="231F20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08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12651726" y="8063072"/>
            <a:ext cx="2743420" cy="428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83"/>
              </a:lnSpc>
            </a:pPr>
            <a:r>
              <a:rPr lang="en-IN" sz="2800" dirty="0"/>
              <a:t>Conclusion</a:t>
            </a:r>
            <a:endParaRPr lang="en-US" sz="2524" spc="247" dirty="0">
              <a:solidFill>
                <a:srgbClr val="231F2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4" name="Rectangle 1">
            <a:extLst>
              <a:ext uri="{FF2B5EF4-FFF2-40B4-BE49-F238E27FC236}">
                <a16:creationId xmlns:a16="http://schemas.microsoft.com/office/drawing/2014/main" id="{7B97D199-BF23-792D-EB99-BADE6F69E2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323165"/>
            <a:ext cx="26481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</p:sp>
      <p:sp>
        <p:nvSpPr>
          <p:cNvPr id="3" name="Freeform 3"/>
          <p:cNvSpPr/>
          <p:nvPr/>
        </p:nvSpPr>
        <p:spPr>
          <a:xfrm rot="1711277">
            <a:off x="9261101" y="1500259"/>
            <a:ext cx="10771889" cy="1140752"/>
          </a:xfrm>
          <a:custGeom>
            <a:avLst/>
            <a:gdLst/>
            <a:ahLst/>
            <a:cxnLst/>
            <a:rect l="l" t="t" r="r" b="b"/>
            <a:pathLst>
              <a:path w="10771889" h="1140752">
                <a:moveTo>
                  <a:pt x="0" y="0"/>
                </a:moveTo>
                <a:lnTo>
                  <a:pt x="10771889" y="0"/>
                </a:lnTo>
                <a:lnTo>
                  <a:pt x="10771889" y="1140752"/>
                </a:lnTo>
                <a:lnTo>
                  <a:pt x="0" y="114075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86495"/>
            </a:stretch>
          </a:blipFill>
        </p:spPr>
      </p:sp>
      <p:sp>
        <p:nvSpPr>
          <p:cNvPr id="4" name="Freeform 4"/>
          <p:cNvSpPr/>
          <p:nvPr/>
        </p:nvSpPr>
        <p:spPr>
          <a:xfrm rot="-8949716">
            <a:off x="-2342739" y="8347255"/>
            <a:ext cx="10771889" cy="1140752"/>
          </a:xfrm>
          <a:custGeom>
            <a:avLst/>
            <a:gdLst/>
            <a:ahLst/>
            <a:cxnLst/>
            <a:rect l="l" t="t" r="r" b="b"/>
            <a:pathLst>
              <a:path w="10771889" h="1140752">
                <a:moveTo>
                  <a:pt x="0" y="0"/>
                </a:moveTo>
                <a:lnTo>
                  <a:pt x="10771889" y="0"/>
                </a:lnTo>
                <a:lnTo>
                  <a:pt x="10771889" y="1140752"/>
                </a:lnTo>
                <a:lnTo>
                  <a:pt x="0" y="114075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86495"/>
            </a:stretch>
          </a:blipFill>
        </p:spPr>
      </p:sp>
      <p:sp>
        <p:nvSpPr>
          <p:cNvPr id="5" name="TextBox 5"/>
          <p:cNvSpPr txBox="1"/>
          <p:nvPr/>
        </p:nvSpPr>
        <p:spPr>
          <a:xfrm>
            <a:off x="2436756" y="1468972"/>
            <a:ext cx="9537014" cy="8983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7291"/>
              </a:lnSpc>
              <a:spcBef>
                <a:spcPct val="0"/>
              </a:spcBef>
            </a:pPr>
            <a:r>
              <a:rPr lang="en-US" sz="5283" u="none" strike="noStrike" spc="184" dirty="0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GROUP MEMBERS</a:t>
            </a:r>
          </a:p>
        </p:txBody>
      </p:sp>
      <p:sp>
        <p:nvSpPr>
          <p:cNvPr id="6" name="Freeform 6"/>
          <p:cNvSpPr/>
          <p:nvPr/>
        </p:nvSpPr>
        <p:spPr>
          <a:xfrm>
            <a:off x="3802124" y="5015890"/>
            <a:ext cx="4988948" cy="528334"/>
          </a:xfrm>
          <a:custGeom>
            <a:avLst/>
            <a:gdLst/>
            <a:ahLst/>
            <a:cxnLst/>
            <a:rect l="l" t="t" r="r" b="b"/>
            <a:pathLst>
              <a:path w="4988948" h="528334">
                <a:moveTo>
                  <a:pt x="0" y="0"/>
                </a:moveTo>
                <a:lnTo>
                  <a:pt x="4988948" y="0"/>
                </a:lnTo>
                <a:lnTo>
                  <a:pt x="4988948" y="528334"/>
                </a:lnTo>
                <a:lnTo>
                  <a:pt x="0" y="52833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86495"/>
            </a:stretch>
          </a:blipFill>
        </p:spPr>
      </p:sp>
      <p:sp>
        <p:nvSpPr>
          <p:cNvPr id="7" name="Freeform 7"/>
          <p:cNvSpPr/>
          <p:nvPr/>
        </p:nvSpPr>
        <p:spPr>
          <a:xfrm>
            <a:off x="11016914" y="4958778"/>
            <a:ext cx="4988948" cy="528334"/>
          </a:xfrm>
          <a:custGeom>
            <a:avLst/>
            <a:gdLst/>
            <a:ahLst/>
            <a:cxnLst/>
            <a:rect l="l" t="t" r="r" b="b"/>
            <a:pathLst>
              <a:path w="4988948" h="528334">
                <a:moveTo>
                  <a:pt x="0" y="0"/>
                </a:moveTo>
                <a:lnTo>
                  <a:pt x="4988948" y="0"/>
                </a:lnTo>
                <a:lnTo>
                  <a:pt x="4988948" y="528334"/>
                </a:lnTo>
                <a:lnTo>
                  <a:pt x="0" y="52833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86495"/>
            </a:stretch>
          </a:blipFill>
        </p:spPr>
      </p:sp>
      <p:sp>
        <p:nvSpPr>
          <p:cNvPr id="8" name="Freeform 8"/>
          <p:cNvSpPr/>
          <p:nvPr/>
        </p:nvSpPr>
        <p:spPr>
          <a:xfrm>
            <a:off x="3802124" y="7668412"/>
            <a:ext cx="4988948" cy="528334"/>
          </a:xfrm>
          <a:custGeom>
            <a:avLst/>
            <a:gdLst/>
            <a:ahLst/>
            <a:cxnLst/>
            <a:rect l="l" t="t" r="r" b="b"/>
            <a:pathLst>
              <a:path w="4988948" h="528334">
                <a:moveTo>
                  <a:pt x="0" y="0"/>
                </a:moveTo>
                <a:lnTo>
                  <a:pt x="4988948" y="0"/>
                </a:lnTo>
                <a:lnTo>
                  <a:pt x="4988948" y="528334"/>
                </a:lnTo>
                <a:lnTo>
                  <a:pt x="0" y="52833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86495"/>
            </a:stretch>
          </a:blipFill>
        </p:spPr>
      </p:sp>
      <p:sp>
        <p:nvSpPr>
          <p:cNvPr id="9" name="Freeform 9"/>
          <p:cNvSpPr/>
          <p:nvPr/>
        </p:nvSpPr>
        <p:spPr>
          <a:xfrm>
            <a:off x="11016914" y="7819154"/>
            <a:ext cx="4988948" cy="528334"/>
          </a:xfrm>
          <a:custGeom>
            <a:avLst/>
            <a:gdLst/>
            <a:ahLst/>
            <a:cxnLst/>
            <a:rect l="l" t="t" r="r" b="b"/>
            <a:pathLst>
              <a:path w="4988948" h="528334">
                <a:moveTo>
                  <a:pt x="0" y="0"/>
                </a:moveTo>
                <a:lnTo>
                  <a:pt x="4988948" y="0"/>
                </a:lnTo>
                <a:lnTo>
                  <a:pt x="4988948" y="528333"/>
                </a:lnTo>
                <a:lnTo>
                  <a:pt x="0" y="528333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86495"/>
            </a:stretch>
          </a:blipFill>
        </p:spPr>
      </p:sp>
      <p:grpSp>
        <p:nvGrpSpPr>
          <p:cNvPr id="10" name="Group 10"/>
          <p:cNvGrpSpPr/>
          <p:nvPr/>
        </p:nvGrpSpPr>
        <p:grpSpPr>
          <a:xfrm>
            <a:off x="3301345" y="3322618"/>
            <a:ext cx="5489727" cy="1761958"/>
            <a:chOff x="0" y="0"/>
            <a:chExt cx="1569119" cy="503617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1569119" cy="503617"/>
            </a:xfrm>
            <a:custGeom>
              <a:avLst/>
              <a:gdLst/>
              <a:ahLst/>
              <a:cxnLst/>
              <a:rect l="l" t="t" r="r" b="b"/>
              <a:pathLst>
                <a:path w="1569119" h="503617">
                  <a:moveTo>
                    <a:pt x="18333" y="0"/>
                  </a:moveTo>
                  <a:lnTo>
                    <a:pt x="1550786" y="0"/>
                  </a:lnTo>
                  <a:cubicBezTo>
                    <a:pt x="1555648" y="0"/>
                    <a:pt x="1560311" y="1932"/>
                    <a:pt x="1563749" y="5370"/>
                  </a:cubicBezTo>
                  <a:cubicBezTo>
                    <a:pt x="1567187" y="8808"/>
                    <a:pt x="1569119" y="13471"/>
                    <a:pt x="1569119" y="18333"/>
                  </a:cubicBezTo>
                  <a:lnTo>
                    <a:pt x="1569119" y="485284"/>
                  </a:lnTo>
                  <a:cubicBezTo>
                    <a:pt x="1569119" y="495409"/>
                    <a:pt x="1560911" y="503617"/>
                    <a:pt x="1550786" y="503617"/>
                  </a:cubicBezTo>
                  <a:lnTo>
                    <a:pt x="18333" y="503617"/>
                  </a:lnTo>
                  <a:cubicBezTo>
                    <a:pt x="8208" y="503617"/>
                    <a:pt x="0" y="495409"/>
                    <a:pt x="0" y="485284"/>
                  </a:cubicBezTo>
                  <a:lnTo>
                    <a:pt x="0" y="18333"/>
                  </a:lnTo>
                  <a:cubicBezTo>
                    <a:pt x="0" y="8208"/>
                    <a:pt x="8208" y="0"/>
                    <a:pt x="18333" y="0"/>
                  </a:cubicBezTo>
                  <a:close/>
                </a:path>
              </a:pathLst>
            </a:custGeom>
            <a:solidFill>
              <a:srgbClr val="100F0D"/>
            </a:solidFill>
          </p:spPr>
        </p:sp>
        <p:sp>
          <p:nvSpPr>
            <p:cNvPr id="12" name="TextBox 12"/>
            <p:cNvSpPr txBox="1"/>
            <p:nvPr/>
          </p:nvSpPr>
          <p:spPr>
            <a:xfrm>
              <a:off x="0" y="-38100"/>
              <a:ext cx="1569119" cy="541717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903"/>
                </a:lnSpc>
              </a:pPr>
              <a:endParaRPr/>
            </a:p>
          </p:txBody>
        </p:sp>
      </p:grpSp>
      <p:sp>
        <p:nvSpPr>
          <p:cNvPr id="13" name="Freeform 13"/>
          <p:cNvSpPr/>
          <p:nvPr/>
        </p:nvSpPr>
        <p:spPr>
          <a:xfrm>
            <a:off x="7205263" y="3498474"/>
            <a:ext cx="1351146" cy="206357"/>
          </a:xfrm>
          <a:custGeom>
            <a:avLst/>
            <a:gdLst/>
            <a:ahLst/>
            <a:cxnLst/>
            <a:rect l="l" t="t" r="r" b="b"/>
            <a:pathLst>
              <a:path w="1351146" h="206357">
                <a:moveTo>
                  <a:pt x="0" y="0"/>
                </a:moveTo>
                <a:lnTo>
                  <a:pt x="1351146" y="0"/>
                </a:lnTo>
                <a:lnTo>
                  <a:pt x="1351146" y="206357"/>
                </a:lnTo>
                <a:lnTo>
                  <a:pt x="0" y="206357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14" name="TextBox 14"/>
          <p:cNvSpPr txBox="1"/>
          <p:nvPr/>
        </p:nvSpPr>
        <p:spPr>
          <a:xfrm>
            <a:off x="4661652" y="3448259"/>
            <a:ext cx="2282831" cy="3472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641"/>
              </a:lnSpc>
              <a:spcBef>
                <a:spcPct val="0"/>
              </a:spcBef>
            </a:pPr>
            <a:r>
              <a:rPr lang="en-US" sz="1887" spc="-37">
                <a:solidFill>
                  <a:srgbClr val="FFFFFF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Aaron Loeb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4661652" y="3829837"/>
            <a:ext cx="3894757" cy="10527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125"/>
              </a:lnSpc>
              <a:spcBef>
                <a:spcPct val="0"/>
              </a:spcBef>
            </a:pP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met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onsectetur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dipiscing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lit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 Duis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vulputate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nulla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at ante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honcus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vel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fficitur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felis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ondimentum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 Proin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dio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dio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</a:t>
            </a:r>
          </a:p>
        </p:txBody>
      </p:sp>
      <p:grpSp>
        <p:nvGrpSpPr>
          <p:cNvPr id="16" name="Group 16"/>
          <p:cNvGrpSpPr>
            <a:grpSpLocks noChangeAspect="1"/>
          </p:cNvGrpSpPr>
          <p:nvPr/>
        </p:nvGrpSpPr>
        <p:grpSpPr>
          <a:xfrm>
            <a:off x="2282138" y="2986489"/>
            <a:ext cx="2320061" cy="2310998"/>
            <a:chOff x="0" y="0"/>
            <a:chExt cx="6502400" cy="6477000"/>
          </a:xfrm>
        </p:grpSpPr>
        <p:sp>
          <p:nvSpPr>
            <p:cNvPr id="17" name="Freeform 17"/>
            <p:cNvSpPr/>
            <p:nvPr/>
          </p:nvSpPr>
          <p:spPr>
            <a:xfrm>
              <a:off x="-23042" y="119185"/>
              <a:ext cx="6542159" cy="6244242"/>
            </a:xfrm>
            <a:custGeom>
              <a:avLst/>
              <a:gdLst/>
              <a:ahLst/>
              <a:cxnLst/>
              <a:rect l="l" t="t" r="r" b="b"/>
              <a:pathLst>
                <a:path w="6542159" h="6244242">
                  <a:moveTo>
                    <a:pt x="3271080" y="4996"/>
                  </a:moveTo>
                  <a:cubicBezTo>
                    <a:pt x="2154117" y="0"/>
                    <a:pt x="1119857" y="593026"/>
                    <a:pt x="559929" y="1559521"/>
                  </a:cubicBezTo>
                  <a:cubicBezTo>
                    <a:pt x="0" y="2526015"/>
                    <a:pt x="0" y="3718228"/>
                    <a:pt x="559929" y="4684723"/>
                  </a:cubicBezTo>
                  <a:cubicBezTo>
                    <a:pt x="1119857" y="5651217"/>
                    <a:pt x="2154117" y="6244243"/>
                    <a:pt x="3271080" y="6239248"/>
                  </a:cubicBezTo>
                  <a:cubicBezTo>
                    <a:pt x="4388043" y="6244243"/>
                    <a:pt x="5422303" y="5651217"/>
                    <a:pt x="5982231" y="4684723"/>
                  </a:cubicBezTo>
                  <a:cubicBezTo>
                    <a:pt x="6542160" y="3718229"/>
                    <a:pt x="6542160" y="2526015"/>
                    <a:pt x="5982231" y="1559521"/>
                  </a:cubicBezTo>
                  <a:cubicBezTo>
                    <a:pt x="5422303" y="593027"/>
                    <a:pt x="4388043" y="1"/>
                    <a:pt x="3271080" y="4996"/>
                  </a:cubicBezTo>
                  <a:close/>
                </a:path>
              </a:pathLst>
            </a:custGeom>
            <a:blipFill>
              <a:blip r:embed="rId6"/>
              <a:stretch>
                <a:fillRect l="-24712" r="-24712"/>
              </a:stretch>
            </a:blipFill>
          </p:spPr>
        </p:sp>
        <p:sp>
          <p:nvSpPr>
            <p:cNvPr id="18" name="Freeform 18"/>
            <p:cNvSpPr/>
            <p:nvPr/>
          </p:nvSpPr>
          <p:spPr>
            <a:xfrm>
              <a:off x="73038" y="66269"/>
              <a:ext cx="6350000" cy="6349987"/>
            </a:xfrm>
            <a:custGeom>
              <a:avLst/>
              <a:gdLst/>
              <a:ahLst/>
              <a:cxnLst/>
              <a:rect l="l" t="t" r="r" b="b"/>
              <a:pathLst>
                <a:path w="6350000" h="6349987">
                  <a:moveTo>
                    <a:pt x="3175000" y="6349987"/>
                  </a:moveTo>
                  <a:cubicBezTo>
                    <a:pt x="1424279" y="6349987"/>
                    <a:pt x="0" y="4925733"/>
                    <a:pt x="0" y="3175038"/>
                  </a:cubicBezTo>
                  <a:cubicBezTo>
                    <a:pt x="0" y="1424317"/>
                    <a:pt x="1424292" y="0"/>
                    <a:pt x="3175000" y="0"/>
                  </a:cubicBezTo>
                  <a:cubicBezTo>
                    <a:pt x="4925733" y="0"/>
                    <a:pt x="6350000" y="1424330"/>
                    <a:pt x="6350000" y="3175038"/>
                  </a:cubicBezTo>
                  <a:cubicBezTo>
                    <a:pt x="6350000" y="4925720"/>
                    <a:pt x="4925733" y="6349987"/>
                    <a:pt x="3175000" y="6349987"/>
                  </a:cubicBezTo>
                  <a:close/>
                  <a:moveTo>
                    <a:pt x="3175000" y="115760"/>
                  </a:moveTo>
                  <a:cubicBezTo>
                    <a:pt x="1488135" y="115760"/>
                    <a:pt x="115760" y="1488148"/>
                    <a:pt x="115760" y="3175038"/>
                  </a:cubicBezTo>
                  <a:cubicBezTo>
                    <a:pt x="115760" y="4861915"/>
                    <a:pt x="1488135" y="6234265"/>
                    <a:pt x="3175000" y="6234265"/>
                  </a:cubicBezTo>
                  <a:cubicBezTo>
                    <a:pt x="4861852" y="6234265"/>
                    <a:pt x="6234265" y="4861890"/>
                    <a:pt x="6234265" y="3175038"/>
                  </a:cubicBezTo>
                  <a:cubicBezTo>
                    <a:pt x="6234265" y="1488148"/>
                    <a:pt x="4861852" y="115760"/>
                    <a:pt x="3175000" y="115760"/>
                  </a:cubicBezTo>
                  <a:close/>
                </a:path>
              </a:pathLst>
            </a:custGeom>
            <a:solidFill>
              <a:srgbClr val="100F0D"/>
            </a:solidFill>
          </p:spPr>
        </p:sp>
      </p:grpSp>
      <p:grpSp>
        <p:nvGrpSpPr>
          <p:cNvPr id="19" name="Group 19"/>
          <p:cNvGrpSpPr/>
          <p:nvPr/>
        </p:nvGrpSpPr>
        <p:grpSpPr>
          <a:xfrm>
            <a:off x="10516135" y="3322618"/>
            <a:ext cx="5489727" cy="1761958"/>
            <a:chOff x="0" y="0"/>
            <a:chExt cx="1569119" cy="503617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1569119" cy="503617"/>
            </a:xfrm>
            <a:custGeom>
              <a:avLst/>
              <a:gdLst/>
              <a:ahLst/>
              <a:cxnLst/>
              <a:rect l="l" t="t" r="r" b="b"/>
              <a:pathLst>
                <a:path w="1569119" h="503617">
                  <a:moveTo>
                    <a:pt x="18333" y="0"/>
                  </a:moveTo>
                  <a:lnTo>
                    <a:pt x="1550786" y="0"/>
                  </a:lnTo>
                  <a:cubicBezTo>
                    <a:pt x="1555648" y="0"/>
                    <a:pt x="1560311" y="1932"/>
                    <a:pt x="1563749" y="5370"/>
                  </a:cubicBezTo>
                  <a:cubicBezTo>
                    <a:pt x="1567187" y="8808"/>
                    <a:pt x="1569119" y="13471"/>
                    <a:pt x="1569119" y="18333"/>
                  </a:cubicBezTo>
                  <a:lnTo>
                    <a:pt x="1569119" y="485284"/>
                  </a:lnTo>
                  <a:cubicBezTo>
                    <a:pt x="1569119" y="495409"/>
                    <a:pt x="1560911" y="503617"/>
                    <a:pt x="1550786" y="503617"/>
                  </a:cubicBezTo>
                  <a:lnTo>
                    <a:pt x="18333" y="503617"/>
                  </a:lnTo>
                  <a:cubicBezTo>
                    <a:pt x="8208" y="503617"/>
                    <a:pt x="0" y="495409"/>
                    <a:pt x="0" y="485284"/>
                  </a:cubicBezTo>
                  <a:lnTo>
                    <a:pt x="0" y="18333"/>
                  </a:lnTo>
                  <a:cubicBezTo>
                    <a:pt x="0" y="8208"/>
                    <a:pt x="8208" y="0"/>
                    <a:pt x="18333" y="0"/>
                  </a:cubicBezTo>
                  <a:close/>
                </a:path>
              </a:pathLst>
            </a:custGeom>
            <a:solidFill>
              <a:srgbClr val="100F0D"/>
            </a:solidFill>
          </p:spPr>
        </p:sp>
        <p:sp>
          <p:nvSpPr>
            <p:cNvPr id="21" name="TextBox 21"/>
            <p:cNvSpPr txBox="1"/>
            <p:nvPr/>
          </p:nvSpPr>
          <p:spPr>
            <a:xfrm>
              <a:off x="0" y="-38100"/>
              <a:ext cx="1569119" cy="541717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903"/>
                </a:lnSpc>
              </a:pPr>
              <a:endParaRPr/>
            </a:p>
          </p:txBody>
        </p:sp>
      </p:grpSp>
      <p:sp>
        <p:nvSpPr>
          <p:cNvPr id="22" name="TextBox 22"/>
          <p:cNvSpPr txBox="1"/>
          <p:nvPr/>
        </p:nvSpPr>
        <p:spPr>
          <a:xfrm>
            <a:off x="11876442" y="3448259"/>
            <a:ext cx="2282831" cy="3472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641"/>
              </a:lnSpc>
              <a:spcBef>
                <a:spcPct val="0"/>
              </a:spcBef>
            </a:pPr>
            <a:r>
              <a:rPr lang="en-US" sz="1887" spc="-37">
                <a:solidFill>
                  <a:srgbClr val="FFFFFF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Dani Martinez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11876442" y="3829837"/>
            <a:ext cx="3894757" cy="10527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125"/>
              </a:lnSpc>
              <a:spcBef>
                <a:spcPct val="0"/>
              </a:spcBef>
            </a:pPr>
            <a:r>
              <a:rPr lang="en-US" sz="1518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grpSp>
        <p:nvGrpSpPr>
          <p:cNvPr id="24" name="Group 24"/>
          <p:cNvGrpSpPr>
            <a:grpSpLocks noChangeAspect="1"/>
          </p:cNvGrpSpPr>
          <p:nvPr/>
        </p:nvGrpSpPr>
        <p:grpSpPr>
          <a:xfrm>
            <a:off x="9496928" y="2986489"/>
            <a:ext cx="2320061" cy="2310998"/>
            <a:chOff x="0" y="0"/>
            <a:chExt cx="6502400" cy="6477000"/>
          </a:xfrm>
        </p:grpSpPr>
        <p:sp>
          <p:nvSpPr>
            <p:cNvPr id="25" name="Freeform 25"/>
            <p:cNvSpPr/>
            <p:nvPr/>
          </p:nvSpPr>
          <p:spPr>
            <a:xfrm>
              <a:off x="-23042" y="119185"/>
              <a:ext cx="6542159" cy="6244242"/>
            </a:xfrm>
            <a:custGeom>
              <a:avLst/>
              <a:gdLst/>
              <a:ahLst/>
              <a:cxnLst/>
              <a:rect l="l" t="t" r="r" b="b"/>
              <a:pathLst>
                <a:path w="6542159" h="6244242">
                  <a:moveTo>
                    <a:pt x="3271080" y="4996"/>
                  </a:moveTo>
                  <a:cubicBezTo>
                    <a:pt x="2154117" y="0"/>
                    <a:pt x="1119857" y="593026"/>
                    <a:pt x="559929" y="1559521"/>
                  </a:cubicBezTo>
                  <a:cubicBezTo>
                    <a:pt x="0" y="2526015"/>
                    <a:pt x="0" y="3718228"/>
                    <a:pt x="559929" y="4684723"/>
                  </a:cubicBezTo>
                  <a:cubicBezTo>
                    <a:pt x="1119857" y="5651217"/>
                    <a:pt x="2154117" y="6244243"/>
                    <a:pt x="3271080" y="6239248"/>
                  </a:cubicBezTo>
                  <a:cubicBezTo>
                    <a:pt x="4388043" y="6244243"/>
                    <a:pt x="5422303" y="5651217"/>
                    <a:pt x="5982231" y="4684723"/>
                  </a:cubicBezTo>
                  <a:cubicBezTo>
                    <a:pt x="6542160" y="3718229"/>
                    <a:pt x="6542160" y="2526015"/>
                    <a:pt x="5982231" y="1559521"/>
                  </a:cubicBezTo>
                  <a:cubicBezTo>
                    <a:pt x="5422303" y="593027"/>
                    <a:pt x="4388043" y="1"/>
                    <a:pt x="3271080" y="4996"/>
                  </a:cubicBezTo>
                  <a:close/>
                </a:path>
              </a:pathLst>
            </a:custGeom>
            <a:blipFill>
              <a:blip r:embed="rId7"/>
              <a:stretch>
                <a:fillRect l="-16369" r="-16369"/>
              </a:stretch>
            </a:blipFill>
          </p:spPr>
        </p:sp>
        <p:sp>
          <p:nvSpPr>
            <p:cNvPr id="26" name="Freeform 26"/>
            <p:cNvSpPr/>
            <p:nvPr/>
          </p:nvSpPr>
          <p:spPr>
            <a:xfrm>
              <a:off x="73038" y="66269"/>
              <a:ext cx="6350000" cy="6349987"/>
            </a:xfrm>
            <a:custGeom>
              <a:avLst/>
              <a:gdLst/>
              <a:ahLst/>
              <a:cxnLst/>
              <a:rect l="l" t="t" r="r" b="b"/>
              <a:pathLst>
                <a:path w="6350000" h="6349987">
                  <a:moveTo>
                    <a:pt x="3175000" y="6349987"/>
                  </a:moveTo>
                  <a:cubicBezTo>
                    <a:pt x="1424279" y="6349987"/>
                    <a:pt x="0" y="4925733"/>
                    <a:pt x="0" y="3175038"/>
                  </a:cubicBezTo>
                  <a:cubicBezTo>
                    <a:pt x="0" y="1424317"/>
                    <a:pt x="1424292" y="0"/>
                    <a:pt x="3175000" y="0"/>
                  </a:cubicBezTo>
                  <a:cubicBezTo>
                    <a:pt x="4925733" y="0"/>
                    <a:pt x="6350000" y="1424330"/>
                    <a:pt x="6350000" y="3175038"/>
                  </a:cubicBezTo>
                  <a:cubicBezTo>
                    <a:pt x="6350000" y="4925720"/>
                    <a:pt x="4925733" y="6349987"/>
                    <a:pt x="3175000" y="6349987"/>
                  </a:cubicBezTo>
                  <a:close/>
                  <a:moveTo>
                    <a:pt x="3175000" y="115760"/>
                  </a:moveTo>
                  <a:cubicBezTo>
                    <a:pt x="1488135" y="115760"/>
                    <a:pt x="115760" y="1488148"/>
                    <a:pt x="115760" y="3175038"/>
                  </a:cubicBezTo>
                  <a:cubicBezTo>
                    <a:pt x="115760" y="4861915"/>
                    <a:pt x="1488135" y="6234265"/>
                    <a:pt x="3175000" y="6234265"/>
                  </a:cubicBezTo>
                  <a:cubicBezTo>
                    <a:pt x="4861852" y="6234265"/>
                    <a:pt x="6234265" y="4861890"/>
                    <a:pt x="6234265" y="3175038"/>
                  </a:cubicBezTo>
                  <a:cubicBezTo>
                    <a:pt x="6234265" y="1488148"/>
                    <a:pt x="4861852" y="115760"/>
                    <a:pt x="3175000" y="115760"/>
                  </a:cubicBezTo>
                  <a:close/>
                </a:path>
              </a:pathLst>
            </a:custGeom>
            <a:solidFill>
              <a:srgbClr val="100F0D"/>
            </a:solidFill>
          </p:spPr>
        </p:sp>
      </p:grpSp>
      <p:grpSp>
        <p:nvGrpSpPr>
          <p:cNvPr id="27" name="Group 27"/>
          <p:cNvGrpSpPr/>
          <p:nvPr/>
        </p:nvGrpSpPr>
        <p:grpSpPr>
          <a:xfrm>
            <a:off x="3301345" y="6108451"/>
            <a:ext cx="5489727" cy="1761958"/>
            <a:chOff x="0" y="0"/>
            <a:chExt cx="1569119" cy="503617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1569119" cy="503617"/>
            </a:xfrm>
            <a:custGeom>
              <a:avLst/>
              <a:gdLst/>
              <a:ahLst/>
              <a:cxnLst/>
              <a:rect l="l" t="t" r="r" b="b"/>
              <a:pathLst>
                <a:path w="1569119" h="503617">
                  <a:moveTo>
                    <a:pt x="18333" y="0"/>
                  </a:moveTo>
                  <a:lnTo>
                    <a:pt x="1550786" y="0"/>
                  </a:lnTo>
                  <a:cubicBezTo>
                    <a:pt x="1555648" y="0"/>
                    <a:pt x="1560311" y="1932"/>
                    <a:pt x="1563749" y="5370"/>
                  </a:cubicBezTo>
                  <a:cubicBezTo>
                    <a:pt x="1567187" y="8808"/>
                    <a:pt x="1569119" y="13471"/>
                    <a:pt x="1569119" y="18333"/>
                  </a:cubicBezTo>
                  <a:lnTo>
                    <a:pt x="1569119" y="485284"/>
                  </a:lnTo>
                  <a:cubicBezTo>
                    <a:pt x="1569119" y="495409"/>
                    <a:pt x="1560911" y="503617"/>
                    <a:pt x="1550786" y="503617"/>
                  </a:cubicBezTo>
                  <a:lnTo>
                    <a:pt x="18333" y="503617"/>
                  </a:lnTo>
                  <a:cubicBezTo>
                    <a:pt x="8208" y="503617"/>
                    <a:pt x="0" y="495409"/>
                    <a:pt x="0" y="485284"/>
                  </a:cubicBezTo>
                  <a:lnTo>
                    <a:pt x="0" y="18333"/>
                  </a:lnTo>
                  <a:cubicBezTo>
                    <a:pt x="0" y="8208"/>
                    <a:pt x="8208" y="0"/>
                    <a:pt x="18333" y="0"/>
                  </a:cubicBezTo>
                  <a:close/>
                </a:path>
              </a:pathLst>
            </a:custGeom>
            <a:solidFill>
              <a:srgbClr val="100F0D"/>
            </a:solidFill>
          </p:spPr>
        </p:sp>
        <p:sp>
          <p:nvSpPr>
            <p:cNvPr id="29" name="TextBox 29"/>
            <p:cNvSpPr txBox="1"/>
            <p:nvPr/>
          </p:nvSpPr>
          <p:spPr>
            <a:xfrm>
              <a:off x="0" y="-38100"/>
              <a:ext cx="1569119" cy="541717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903"/>
                </a:lnSpc>
              </a:pPr>
              <a:endParaRPr/>
            </a:p>
          </p:txBody>
        </p:sp>
      </p:grpSp>
      <p:sp>
        <p:nvSpPr>
          <p:cNvPr id="30" name="Freeform 30"/>
          <p:cNvSpPr/>
          <p:nvPr/>
        </p:nvSpPr>
        <p:spPr>
          <a:xfrm>
            <a:off x="7205263" y="6284308"/>
            <a:ext cx="1351146" cy="206357"/>
          </a:xfrm>
          <a:custGeom>
            <a:avLst/>
            <a:gdLst/>
            <a:ahLst/>
            <a:cxnLst/>
            <a:rect l="l" t="t" r="r" b="b"/>
            <a:pathLst>
              <a:path w="1351146" h="206357">
                <a:moveTo>
                  <a:pt x="0" y="0"/>
                </a:moveTo>
                <a:lnTo>
                  <a:pt x="1351146" y="0"/>
                </a:lnTo>
                <a:lnTo>
                  <a:pt x="1351146" y="206357"/>
                </a:lnTo>
                <a:lnTo>
                  <a:pt x="0" y="206357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1" name="TextBox 31"/>
          <p:cNvSpPr txBox="1"/>
          <p:nvPr/>
        </p:nvSpPr>
        <p:spPr>
          <a:xfrm>
            <a:off x="4661652" y="6234092"/>
            <a:ext cx="2826376" cy="3472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641"/>
              </a:lnSpc>
              <a:spcBef>
                <a:spcPct val="0"/>
              </a:spcBef>
            </a:pPr>
            <a:r>
              <a:rPr lang="en-US" sz="1887" spc="-37">
                <a:solidFill>
                  <a:srgbClr val="FFFFFF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Alfredo Torres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4661652" y="6615671"/>
            <a:ext cx="3894757" cy="10527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125"/>
              </a:lnSpc>
              <a:spcBef>
                <a:spcPct val="0"/>
              </a:spcBef>
            </a:pP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met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onsectetur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dipiscing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lit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 Duis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vulputate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nulla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at ante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honcus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vel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fficitur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felis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ondimentum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 Proin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dio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518" dirty="0" err="1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dio</a:t>
            </a:r>
            <a:r>
              <a:rPr lang="en-US" sz="1518" dirty="0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</a:t>
            </a:r>
          </a:p>
        </p:txBody>
      </p:sp>
      <p:grpSp>
        <p:nvGrpSpPr>
          <p:cNvPr id="33" name="Group 33"/>
          <p:cNvGrpSpPr>
            <a:grpSpLocks noChangeAspect="1"/>
          </p:cNvGrpSpPr>
          <p:nvPr/>
        </p:nvGrpSpPr>
        <p:grpSpPr>
          <a:xfrm>
            <a:off x="2282138" y="5772323"/>
            <a:ext cx="2320061" cy="2310998"/>
            <a:chOff x="0" y="0"/>
            <a:chExt cx="6502400" cy="6477000"/>
          </a:xfrm>
        </p:grpSpPr>
        <p:sp>
          <p:nvSpPr>
            <p:cNvPr id="34" name="Freeform 34"/>
            <p:cNvSpPr/>
            <p:nvPr/>
          </p:nvSpPr>
          <p:spPr>
            <a:xfrm>
              <a:off x="-23042" y="119185"/>
              <a:ext cx="6542159" cy="6244242"/>
            </a:xfrm>
            <a:custGeom>
              <a:avLst/>
              <a:gdLst/>
              <a:ahLst/>
              <a:cxnLst/>
              <a:rect l="l" t="t" r="r" b="b"/>
              <a:pathLst>
                <a:path w="6542159" h="6244242">
                  <a:moveTo>
                    <a:pt x="3271080" y="4996"/>
                  </a:moveTo>
                  <a:cubicBezTo>
                    <a:pt x="2154117" y="0"/>
                    <a:pt x="1119857" y="593026"/>
                    <a:pt x="559929" y="1559521"/>
                  </a:cubicBezTo>
                  <a:cubicBezTo>
                    <a:pt x="0" y="2526015"/>
                    <a:pt x="0" y="3718228"/>
                    <a:pt x="559929" y="4684723"/>
                  </a:cubicBezTo>
                  <a:cubicBezTo>
                    <a:pt x="1119857" y="5651217"/>
                    <a:pt x="2154117" y="6244243"/>
                    <a:pt x="3271080" y="6239248"/>
                  </a:cubicBezTo>
                  <a:cubicBezTo>
                    <a:pt x="4388043" y="6244243"/>
                    <a:pt x="5422303" y="5651217"/>
                    <a:pt x="5982231" y="4684723"/>
                  </a:cubicBezTo>
                  <a:cubicBezTo>
                    <a:pt x="6542160" y="3718229"/>
                    <a:pt x="6542160" y="2526015"/>
                    <a:pt x="5982231" y="1559521"/>
                  </a:cubicBezTo>
                  <a:cubicBezTo>
                    <a:pt x="5422303" y="593027"/>
                    <a:pt x="4388043" y="1"/>
                    <a:pt x="3271080" y="4996"/>
                  </a:cubicBezTo>
                  <a:close/>
                </a:path>
              </a:pathLst>
            </a:custGeom>
            <a:blipFill>
              <a:blip r:embed="rId8"/>
              <a:stretch>
                <a:fillRect l="223" r="223"/>
              </a:stretch>
            </a:blipFill>
          </p:spPr>
        </p:sp>
        <p:sp>
          <p:nvSpPr>
            <p:cNvPr id="35" name="Freeform 35"/>
            <p:cNvSpPr/>
            <p:nvPr/>
          </p:nvSpPr>
          <p:spPr>
            <a:xfrm>
              <a:off x="73038" y="66269"/>
              <a:ext cx="6350000" cy="6349987"/>
            </a:xfrm>
            <a:custGeom>
              <a:avLst/>
              <a:gdLst/>
              <a:ahLst/>
              <a:cxnLst/>
              <a:rect l="l" t="t" r="r" b="b"/>
              <a:pathLst>
                <a:path w="6350000" h="6349987">
                  <a:moveTo>
                    <a:pt x="3175000" y="6349987"/>
                  </a:moveTo>
                  <a:cubicBezTo>
                    <a:pt x="1424279" y="6349987"/>
                    <a:pt x="0" y="4925733"/>
                    <a:pt x="0" y="3175038"/>
                  </a:cubicBezTo>
                  <a:cubicBezTo>
                    <a:pt x="0" y="1424317"/>
                    <a:pt x="1424292" y="0"/>
                    <a:pt x="3175000" y="0"/>
                  </a:cubicBezTo>
                  <a:cubicBezTo>
                    <a:pt x="4925733" y="0"/>
                    <a:pt x="6350000" y="1424330"/>
                    <a:pt x="6350000" y="3175038"/>
                  </a:cubicBezTo>
                  <a:cubicBezTo>
                    <a:pt x="6350000" y="4925720"/>
                    <a:pt x="4925733" y="6349987"/>
                    <a:pt x="3175000" y="6349987"/>
                  </a:cubicBezTo>
                  <a:close/>
                  <a:moveTo>
                    <a:pt x="3175000" y="115760"/>
                  </a:moveTo>
                  <a:cubicBezTo>
                    <a:pt x="1488135" y="115760"/>
                    <a:pt x="115760" y="1488148"/>
                    <a:pt x="115760" y="3175038"/>
                  </a:cubicBezTo>
                  <a:cubicBezTo>
                    <a:pt x="115760" y="4861915"/>
                    <a:pt x="1488135" y="6234265"/>
                    <a:pt x="3175000" y="6234265"/>
                  </a:cubicBezTo>
                  <a:cubicBezTo>
                    <a:pt x="4861852" y="6234265"/>
                    <a:pt x="6234265" y="4861890"/>
                    <a:pt x="6234265" y="3175038"/>
                  </a:cubicBezTo>
                  <a:cubicBezTo>
                    <a:pt x="6234265" y="1488148"/>
                    <a:pt x="4861852" y="115760"/>
                    <a:pt x="3175000" y="115760"/>
                  </a:cubicBezTo>
                  <a:close/>
                </a:path>
              </a:pathLst>
            </a:custGeom>
            <a:solidFill>
              <a:srgbClr val="100F0D"/>
            </a:solidFill>
          </p:spPr>
        </p:sp>
      </p:grpSp>
      <p:grpSp>
        <p:nvGrpSpPr>
          <p:cNvPr id="36" name="Group 36"/>
          <p:cNvGrpSpPr/>
          <p:nvPr/>
        </p:nvGrpSpPr>
        <p:grpSpPr>
          <a:xfrm>
            <a:off x="10516135" y="6108451"/>
            <a:ext cx="5489727" cy="1761958"/>
            <a:chOff x="0" y="0"/>
            <a:chExt cx="1569119" cy="503617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1569119" cy="503617"/>
            </a:xfrm>
            <a:custGeom>
              <a:avLst/>
              <a:gdLst/>
              <a:ahLst/>
              <a:cxnLst/>
              <a:rect l="l" t="t" r="r" b="b"/>
              <a:pathLst>
                <a:path w="1569119" h="503617">
                  <a:moveTo>
                    <a:pt x="18333" y="0"/>
                  </a:moveTo>
                  <a:lnTo>
                    <a:pt x="1550786" y="0"/>
                  </a:lnTo>
                  <a:cubicBezTo>
                    <a:pt x="1555648" y="0"/>
                    <a:pt x="1560311" y="1932"/>
                    <a:pt x="1563749" y="5370"/>
                  </a:cubicBezTo>
                  <a:cubicBezTo>
                    <a:pt x="1567187" y="8808"/>
                    <a:pt x="1569119" y="13471"/>
                    <a:pt x="1569119" y="18333"/>
                  </a:cubicBezTo>
                  <a:lnTo>
                    <a:pt x="1569119" y="485284"/>
                  </a:lnTo>
                  <a:cubicBezTo>
                    <a:pt x="1569119" y="495409"/>
                    <a:pt x="1560911" y="503617"/>
                    <a:pt x="1550786" y="503617"/>
                  </a:cubicBezTo>
                  <a:lnTo>
                    <a:pt x="18333" y="503617"/>
                  </a:lnTo>
                  <a:cubicBezTo>
                    <a:pt x="8208" y="503617"/>
                    <a:pt x="0" y="495409"/>
                    <a:pt x="0" y="485284"/>
                  </a:cubicBezTo>
                  <a:lnTo>
                    <a:pt x="0" y="18333"/>
                  </a:lnTo>
                  <a:cubicBezTo>
                    <a:pt x="0" y="8208"/>
                    <a:pt x="8208" y="0"/>
                    <a:pt x="18333" y="0"/>
                  </a:cubicBezTo>
                  <a:close/>
                </a:path>
              </a:pathLst>
            </a:custGeom>
            <a:solidFill>
              <a:srgbClr val="100F0D"/>
            </a:solidFill>
          </p:spPr>
        </p:sp>
        <p:sp>
          <p:nvSpPr>
            <p:cNvPr id="38" name="TextBox 38"/>
            <p:cNvSpPr txBox="1"/>
            <p:nvPr/>
          </p:nvSpPr>
          <p:spPr>
            <a:xfrm>
              <a:off x="0" y="-38100"/>
              <a:ext cx="1569119" cy="541717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903"/>
                </a:lnSpc>
              </a:pPr>
              <a:endParaRPr/>
            </a:p>
          </p:txBody>
        </p:sp>
      </p:grpSp>
      <p:sp>
        <p:nvSpPr>
          <p:cNvPr id="39" name="TextBox 39"/>
          <p:cNvSpPr txBox="1"/>
          <p:nvPr/>
        </p:nvSpPr>
        <p:spPr>
          <a:xfrm>
            <a:off x="11876442" y="6234092"/>
            <a:ext cx="2282831" cy="3472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641"/>
              </a:lnSpc>
              <a:spcBef>
                <a:spcPct val="0"/>
              </a:spcBef>
            </a:pPr>
            <a:r>
              <a:rPr lang="en-US" sz="1887" spc="-37">
                <a:solidFill>
                  <a:srgbClr val="FFFFFF"/>
                </a:solidFill>
                <a:latin typeface="Montserrat Light Bold"/>
                <a:ea typeface="Montserrat Light Bold"/>
                <a:cs typeface="Montserrat Light Bold"/>
                <a:sym typeface="Montserrat Light Bold"/>
              </a:rPr>
              <a:t>Drew Feig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11876442" y="6615671"/>
            <a:ext cx="3894757" cy="10527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125"/>
              </a:lnSpc>
              <a:spcBef>
                <a:spcPct val="0"/>
              </a:spcBef>
            </a:pPr>
            <a:r>
              <a:rPr lang="en-US" sz="1518">
                <a:solidFill>
                  <a:srgbClr val="FFFFFF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grpSp>
        <p:nvGrpSpPr>
          <p:cNvPr id="41" name="Group 41"/>
          <p:cNvGrpSpPr>
            <a:grpSpLocks noChangeAspect="1"/>
          </p:cNvGrpSpPr>
          <p:nvPr/>
        </p:nvGrpSpPr>
        <p:grpSpPr>
          <a:xfrm>
            <a:off x="9496928" y="5772323"/>
            <a:ext cx="2320061" cy="2310998"/>
            <a:chOff x="0" y="0"/>
            <a:chExt cx="6502400" cy="6477000"/>
          </a:xfrm>
        </p:grpSpPr>
        <p:sp>
          <p:nvSpPr>
            <p:cNvPr id="42" name="Freeform 42"/>
            <p:cNvSpPr/>
            <p:nvPr/>
          </p:nvSpPr>
          <p:spPr>
            <a:xfrm>
              <a:off x="-23042" y="119185"/>
              <a:ext cx="6542159" cy="6244242"/>
            </a:xfrm>
            <a:custGeom>
              <a:avLst/>
              <a:gdLst/>
              <a:ahLst/>
              <a:cxnLst/>
              <a:rect l="l" t="t" r="r" b="b"/>
              <a:pathLst>
                <a:path w="6542159" h="6244242">
                  <a:moveTo>
                    <a:pt x="3271080" y="4996"/>
                  </a:moveTo>
                  <a:cubicBezTo>
                    <a:pt x="2154117" y="0"/>
                    <a:pt x="1119857" y="593026"/>
                    <a:pt x="559929" y="1559521"/>
                  </a:cubicBezTo>
                  <a:cubicBezTo>
                    <a:pt x="0" y="2526015"/>
                    <a:pt x="0" y="3718228"/>
                    <a:pt x="559929" y="4684723"/>
                  </a:cubicBezTo>
                  <a:cubicBezTo>
                    <a:pt x="1119857" y="5651217"/>
                    <a:pt x="2154117" y="6244243"/>
                    <a:pt x="3271080" y="6239248"/>
                  </a:cubicBezTo>
                  <a:cubicBezTo>
                    <a:pt x="4388043" y="6244243"/>
                    <a:pt x="5422303" y="5651217"/>
                    <a:pt x="5982231" y="4684723"/>
                  </a:cubicBezTo>
                  <a:cubicBezTo>
                    <a:pt x="6542160" y="3718229"/>
                    <a:pt x="6542160" y="2526015"/>
                    <a:pt x="5982231" y="1559521"/>
                  </a:cubicBezTo>
                  <a:cubicBezTo>
                    <a:pt x="5422303" y="593027"/>
                    <a:pt x="4388043" y="1"/>
                    <a:pt x="3271080" y="4996"/>
                  </a:cubicBezTo>
                  <a:close/>
                </a:path>
              </a:pathLst>
            </a:custGeom>
            <a:blipFill>
              <a:blip r:embed="rId9"/>
              <a:stretch>
                <a:fillRect l="223" r="223" b="-49998"/>
              </a:stretch>
            </a:blipFill>
          </p:spPr>
        </p:sp>
        <p:sp>
          <p:nvSpPr>
            <p:cNvPr id="43" name="Freeform 43"/>
            <p:cNvSpPr/>
            <p:nvPr/>
          </p:nvSpPr>
          <p:spPr>
            <a:xfrm>
              <a:off x="73038" y="66269"/>
              <a:ext cx="6350000" cy="6349987"/>
            </a:xfrm>
            <a:custGeom>
              <a:avLst/>
              <a:gdLst/>
              <a:ahLst/>
              <a:cxnLst/>
              <a:rect l="l" t="t" r="r" b="b"/>
              <a:pathLst>
                <a:path w="6350000" h="6349987">
                  <a:moveTo>
                    <a:pt x="3175000" y="6349987"/>
                  </a:moveTo>
                  <a:cubicBezTo>
                    <a:pt x="1424279" y="6349987"/>
                    <a:pt x="0" y="4925733"/>
                    <a:pt x="0" y="3175038"/>
                  </a:cubicBezTo>
                  <a:cubicBezTo>
                    <a:pt x="0" y="1424317"/>
                    <a:pt x="1424292" y="0"/>
                    <a:pt x="3175000" y="0"/>
                  </a:cubicBezTo>
                  <a:cubicBezTo>
                    <a:pt x="4925733" y="0"/>
                    <a:pt x="6350000" y="1424330"/>
                    <a:pt x="6350000" y="3175038"/>
                  </a:cubicBezTo>
                  <a:cubicBezTo>
                    <a:pt x="6350000" y="4925720"/>
                    <a:pt x="4925733" y="6349987"/>
                    <a:pt x="3175000" y="6349987"/>
                  </a:cubicBezTo>
                  <a:close/>
                  <a:moveTo>
                    <a:pt x="3175000" y="115760"/>
                  </a:moveTo>
                  <a:cubicBezTo>
                    <a:pt x="1488135" y="115760"/>
                    <a:pt x="115760" y="1488148"/>
                    <a:pt x="115760" y="3175038"/>
                  </a:cubicBezTo>
                  <a:cubicBezTo>
                    <a:pt x="115760" y="4861915"/>
                    <a:pt x="1488135" y="6234265"/>
                    <a:pt x="3175000" y="6234265"/>
                  </a:cubicBezTo>
                  <a:cubicBezTo>
                    <a:pt x="4861852" y="6234265"/>
                    <a:pt x="6234265" y="4861890"/>
                    <a:pt x="6234265" y="3175038"/>
                  </a:cubicBezTo>
                  <a:cubicBezTo>
                    <a:pt x="6234265" y="1488148"/>
                    <a:pt x="4861852" y="115760"/>
                    <a:pt x="3175000" y="115760"/>
                  </a:cubicBezTo>
                  <a:close/>
                </a:path>
              </a:pathLst>
            </a:custGeom>
            <a:solidFill>
              <a:srgbClr val="100F0D"/>
            </a:solidFill>
          </p:spPr>
        </p:sp>
      </p:grpSp>
      <p:grpSp>
        <p:nvGrpSpPr>
          <p:cNvPr id="44" name="Group 44"/>
          <p:cNvGrpSpPr>
            <a:grpSpLocks noChangeAspect="1"/>
          </p:cNvGrpSpPr>
          <p:nvPr/>
        </p:nvGrpSpPr>
        <p:grpSpPr>
          <a:xfrm>
            <a:off x="-46214" y="7097814"/>
            <a:ext cx="5669664" cy="3189186"/>
            <a:chOff x="0" y="0"/>
            <a:chExt cx="6089457" cy="3425320"/>
          </a:xfrm>
        </p:grpSpPr>
        <p:sp>
          <p:nvSpPr>
            <p:cNvPr id="45" name="Freeform 45"/>
            <p:cNvSpPr/>
            <p:nvPr/>
          </p:nvSpPr>
          <p:spPr>
            <a:xfrm>
              <a:off x="0" y="0"/>
              <a:ext cx="6089457" cy="3425320"/>
            </a:xfrm>
            <a:custGeom>
              <a:avLst/>
              <a:gdLst/>
              <a:ahLst/>
              <a:cxnLst/>
              <a:rect l="l" t="t" r="r" b="b"/>
              <a:pathLst>
                <a:path w="6089457" h="3425320">
                  <a:moveTo>
                    <a:pt x="0" y="0"/>
                  </a:moveTo>
                  <a:lnTo>
                    <a:pt x="0" y="3425320"/>
                  </a:lnTo>
                  <a:lnTo>
                    <a:pt x="6089457" y="3425320"/>
                  </a:lnTo>
                  <a:cubicBezTo>
                    <a:pt x="4059638" y="2283546"/>
                    <a:pt x="2029819" y="1141773"/>
                    <a:pt x="0" y="0"/>
                  </a:cubicBezTo>
                  <a:close/>
                </a:path>
              </a:pathLst>
            </a:custGeom>
            <a:solidFill>
              <a:srgbClr val="D94D4D"/>
            </a:solidFill>
          </p:spPr>
        </p:sp>
        <p:sp>
          <p:nvSpPr>
            <p:cNvPr id="46" name="Freeform 46"/>
            <p:cNvSpPr/>
            <p:nvPr/>
          </p:nvSpPr>
          <p:spPr>
            <a:xfrm>
              <a:off x="0" y="0"/>
              <a:ext cx="6089457" cy="3425320"/>
            </a:xfrm>
            <a:custGeom>
              <a:avLst/>
              <a:gdLst/>
              <a:ahLst/>
              <a:cxnLst/>
              <a:rect l="l" t="t" r="r" b="b"/>
              <a:pathLst>
                <a:path w="6089457" h="3425320">
                  <a:moveTo>
                    <a:pt x="0" y="0"/>
                  </a:moveTo>
                  <a:lnTo>
                    <a:pt x="0" y="3425320"/>
                  </a:lnTo>
                  <a:lnTo>
                    <a:pt x="6089457" y="3425320"/>
                  </a:lnTo>
                  <a:cubicBezTo>
                    <a:pt x="4059638" y="2283546"/>
                    <a:pt x="2029819" y="1141773"/>
                    <a:pt x="0" y="0"/>
                  </a:cubicBezTo>
                  <a:close/>
                </a:path>
              </a:pathLst>
            </a:custGeom>
            <a:blipFill>
              <a:blip r:embed="rId10"/>
              <a:stretch>
                <a:fillRect l="-98184" t="-51103" r="-41729" b="-133327"/>
              </a:stretch>
            </a:blipFill>
          </p:spPr>
        </p:sp>
      </p:grpSp>
      <p:grpSp>
        <p:nvGrpSpPr>
          <p:cNvPr id="47" name="Group 47"/>
          <p:cNvGrpSpPr>
            <a:grpSpLocks noChangeAspect="1"/>
          </p:cNvGrpSpPr>
          <p:nvPr/>
        </p:nvGrpSpPr>
        <p:grpSpPr>
          <a:xfrm>
            <a:off x="11006092" y="-6332"/>
            <a:ext cx="7281908" cy="4096074"/>
            <a:chOff x="0" y="0"/>
            <a:chExt cx="6089457" cy="3425320"/>
          </a:xfrm>
        </p:grpSpPr>
        <p:sp>
          <p:nvSpPr>
            <p:cNvPr id="48" name="Freeform 48"/>
            <p:cNvSpPr/>
            <p:nvPr/>
          </p:nvSpPr>
          <p:spPr>
            <a:xfrm>
              <a:off x="0" y="0"/>
              <a:ext cx="6089457" cy="3425320"/>
            </a:xfrm>
            <a:custGeom>
              <a:avLst/>
              <a:gdLst/>
              <a:ahLst/>
              <a:cxnLst/>
              <a:rect l="l" t="t" r="r" b="b"/>
              <a:pathLst>
                <a:path w="6089457" h="3425320">
                  <a:moveTo>
                    <a:pt x="6089457" y="3425320"/>
                  </a:moveTo>
                  <a:lnTo>
                    <a:pt x="6089457" y="0"/>
                  </a:lnTo>
                  <a:lnTo>
                    <a:pt x="0" y="0"/>
                  </a:lnTo>
                  <a:cubicBezTo>
                    <a:pt x="2029819" y="1141773"/>
                    <a:pt x="4059638" y="2283546"/>
                    <a:pt x="6089457" y="3425320"/>
                  </a:cubicBezTo>
                  <a:close/>
                </a:path>
              </a:pathLst>
            </a:custGeom>
            <a:solidFill>
              <a:srgbClr val="539BE0"/>
            </a:solidFill>
          </p:spPr>
        </p:sp>
        <p:sp>
          <p:nvSpPr>
            <p:cNvPr id="49" name="Freeform 49"/>
            <p:cNvSpPr/>
            <p:nvPr/>
          </p:nvSpPr>
          <p:spPr>
            <a:xfrm>
              <a:off x="0" y="0"/>
              <a:ext cx="6089457" cy="3425320"/>
            </a:xfrm>
            <a:custGeom>
              <a:avLst/>
              <a:gdLst/>
              <a:ahLst/>
              <a:cxnLst/>
              <a:rect l="l" t="t" r="r" b="b"/>
              <a:pathLst>
                <a:path w="6089457" h="3425320">
                  <a:moveTo>
                    <a:pt x="6089457" y="3425320"/>
                  </a:moveTo>
                  <a:lnTo>
                    <a:pt x="6089457" y="0"/>
                  </a:lnTo>
                  <a:lnTo>
                    <a:pt x="0" y="0"/>
                  </a:lnTo>
                  <a:cubicBezTo>
                    <a:pt x="2029819" y="1141773"/>
                    <a:pt x="4059638" y="2283546"/>
                    <a:pt x="6089457" y="3425320"/>
                  </a:cubicBezTo>
                  <a:close/>
                </a:path>
              </a:pathLst>
            </a:custGeom>
            <a:blipFill>
              <a:blip r:embed="rId11"/>
              <a:stretch>
                <a:fillRect t="-5555" b="-5555"/>
              </a:stretch>
            </a:blipFill>
          </p:spPr>
        </p:sp>
      </p:grpSp>
      <p:sp>
        <p:nvSpPr>
          <p:cNvPr id="50" name="Freeform 50"/>
          <p:cNvSpPr/>
          <p:nvPr/>
        </p:nvSpPr>
        <p:spPr>
          <a:xfrm>
            <a:off x="14499282" y="3509180"/>
            <a:ext cx="1351146" cy="206357"/>
          </a:xfrm>
          <a:custGeom>
            <a:avLst/>
            <a:gdLst/>
            <a:ahLst/>
            <a:cxnLst/>
            <a:rect l="l" t="t" r="r" b="b"/>
            <a:pathLst>
              <a:path w="1351146" h="206357">
                <a:moveTo>
                  <a:pt x="0" y="0"/>
                </a:moveTo>
                <a:lnTo>
                  <a:pt x="1351146" y="0"/>
                </a:lnTo>
                <a:lnTo>
                  <a:pt x="1351146" y="206357"/>
                </a:lnTo>
                <a:lnTo>
                  <a:pt x="0" y="206357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51" name="Freeform 51"/>
          <p:cNvSpPr/>
          <p:nvPr/>
        </p:nvSpPr>
        <p:spPr>
          <a:xfrm>
            <a:off x="14499282" y="6295014"/>
            <a:ext cx="1351146" cy="206357"/>
          </a:xfrm>
          <a:custGeom>
            <a:avLst/>
            <a:gdLst/>
            <a:ahLst/>
            <a:cxnLst/>
            <a:rect l="l" t="t" r="r" b="b"/>
            <a:pathLst>
              <a:path w="1351146" h="206357">
                <a:moveTo>
                  <a:pt x="0" y="0"/>
                </a:moveTo>
                <a:lnTo>
                  <a:pt x="1351146" y="0"/>
                </a:lnTo>
                <a:lnTo>
                  <a:pt x="1351146" y="206357"/>
                </a:lnTo>
                <a:lnTo>
                  <a:pt x="0" y="206357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4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9659420" y="8263127"/>
            <a:ext cx="2799147" cy="440074"/>
          </a:xfrm>
          <a:custGeom>
            <a:avLst/>
            <a:gdLst/>
            <a:ahLst/>
            <a:cxnLst/>
            <a:rect l="l" t="t" r="r" b="b"/>
            <a:pathLst>
              <a:path w="2799147" h="440074">
                <a:moveTo>
                  <a:pt x="0" y="0"/>
                </a:moveTo>
                <a:lnTo>
                  <a:pt x="2799147" y="0"/>
                </a:lnTo>
                <a:lnTo>
                  <a:pt x="2799147" y="440074"/>
                </a:lnTo>
                <a:lnTo>
                  <a:pt x="0" y="44007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5622"/>
            </a:stretch>
          </a:blipFill>
        </p:spPr>
      </p:sp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9659420" y="5607622"/>
            <a:ext cx="2799147" cy="2799147"/>
            <a:chOff x="0" y="0"/>
            <a:chExt cx="6350000" cy="635000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3"/>
              <a:stretch>
                <a:fillRect l="-30016" r="-30016"/>
              </a:stretch>
            </a:blipFill>
          </p:spPr>
        </p:sp>
      </p:grpSp>
      <p:sp>
        <p:nvSpPr>
          <p:cNvPr id="5" name="Freeform 5"/>
          <p:cNvSpPr/>
          <p:nvPr/>
        </p:nvSpPr>
        <p:spPr>
          <a:xfrm>
            <a:off x="9659420" y="4799097"/>
            <a:ext cx="2799147" cy="440074"/>
          </a:xfrm>
          <a:custGeom>
            <a:avLst/>
            <a:gdLst/>
            <a:ahLst/>
            <a:cxnLst/>
            <a:rect l="l" t="t" r="r" b="b"/>
            <a:pathLst>
              <a:path w="2799147" h="440074">
                <a:moveTo>
                  <a:pt x="0" y="0"/>
                </a:moveTo>
                <a:lnTo>
                  <a:pt x="2799147" y="0"/>
                </a:lnTo>
                <a:lnTo>
                  <a:pt x="2799147" y="440074"/>
                </a:lnTo>
                <a:lnTo>
                  <a:pt x="0" y="44007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5622"/>
            </a:stretch>
          </a:blipFill>
        </p:spPr>
      </p:sp>
      <p:grpSp>
        <p:nvGrpSpPr>
          <p:cNvPr id="6" name="Group 6"/>
          <p:cNvGrpSpPr>
            <a:grpSpLocks noChangeAspect="1"/>
          </p:cNvGrpSpPr>
          <p:nvPr/>
        </p:nvGrpSpPr>
        <p:grpSpPr>
          <a:xfrm>
            <a:off x="9659420" y="2143592"/>
            <a:ext cx="2799147" cy="2799147"/>
            <a:chOff x="0" y="0"/>
            <a:chExt cx="6350000" cy="63500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4"/>
              <a:stretch>
                <a:fillRect l="-24991" r="-24991"/>
              </a:stretch>
            </a:blipFill>
          </p:spPr>
        </p:sp>
      </p:grpSp>
      <p:sp>
        <p:nvSpPr>
          <p:cNvPr id="8" name="Freeform 8"/>
          <p:cNvSpPr/>
          <p:nvPr/>
        </p:nvSpPr>
        <p:spPr>
          <a:xfrm>
            <a:off x="2179183" y="6826068"/>
            <a:ext cx="6851587" cy="1077187"/>
          </a:xfrm>
          <a:custGeom>
            <a:avLst/>
            <a:gdLst/>
            <a:ahLst/>
            <a:cxnLst/>
            <a:rect l="l" t="t" r="r" b="b"/>
            <a:pathLst>
              <a:path w="6851587" h="1077187">
                <a:moveTo>
                  <a:pt x="0" y="0"/>
                </a:moveTo>
                <a:lnTo>
                  <a:pt x="6851587" y="0"/>
                </a:lnTo>
                <a:lnTo>
                  <a:pt x="6851587" y="1077187"/>
                </a:lnTo>
                <a:lnTo>
                  <a:pt x="0" y="1077187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5622"/>
            </a:stretch>
          </a:blipFill>
        </p:spPr>
      </p:sp>
      <p:grpSp>
        <p:nvGrpSpPr>
          <p:cNvPr id="9" name="Group 9"/>
          <p:cNvGrpSpPr>
            <a:grpSpLocks noChangeAspect="1"/>
          </p:cNvGrpSpPr>
          <p:nvPr/>
        </p:nvGrpSpPr>
        <p:grpSpPr>
          <a:xfrm>
            <a:off x="2240447" y="3594570"/>
            <a:ext cx="6790323" cy="3819509"/>
            <a:chOff x="0" y="0"/>
            <a:chExt cx="11289030" cy="63500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11287761" cy="6350000"/>
            </a:xfrm>
            <a:custGeom>
              <a:avLst/>
              <a:gdLst/>
              <a:ahLst/>
              <a:cxnLst/>
              <a:rect l="l" t="t" r="r" b="b"/>
              <a:pathLst>
                <a:path w="11287761" h="6350000">
                  <a:moveTo>
                    <a:pt x="0" y="5824220"/>
                  </a:moveTo>
                  <a:lnTo>
                    <a:pt x="0" y="525780"/>
                  </a:lnTo>
                  <a:cubicBezTo>
                    <a:pt x="0" y="234950"/>
                    <a:pt x="234950" y="0"/>
                    <a:pt x="525780" y="0"/>
                  </a:cubicBezTo>
                  <a:lnTo>
                    <a:pt x="10761980" y="0"/>
                  </a:lnTo>
                  <a:cubicBezTo>
                    <a:pt x="11052811" y="0"/>
                    <a:pt x="11287761" y="234950"/>
                    <a:pt x="11287761" y="525780"/>
                  </a:cubicBezTo>
                  <a:lnTo>
                    <a:pt x="11287761" y="5822950"/>
                  </a:lnTo>
                  <a:cubicBezTo>
                    <a:pt x="11287761" y="6113780"/>
                    <a:pt x="11052811" y="6348730"/>
                    <a:pt x="10761980" y="6348730"/>
                  </a:cubicBezTo>
                  <a:lnTo>
                    <a:pt x="525780" y="6348730"/>
                  </a:lnTo>
                  <a:cubicBezTo>
                    <a:pt x="236220" y="6350000"/>
                    <a:pt x="0" y="6115050"/>
                    <a:pt x="0" y="5824220"/>
                  </a:cubicBezTo>
                  <a:cubicBezTo>
                    <a:pt x="0" y="5824220"/>
                    <a:pt x="0" y="5824220"/>
                    <a:pt x="0" y="5824220"/>
                  </a:cubicBezTo>
                  <a:close/>
                </a:path>
              </a:pathLst>
            </a:custGeom>
            <a:blipFill>
              <a:blip r:embed="rId5"/>
              <a:stretch>
                <a:fillRect t="-83513" b="-83513"/>
              </a:stretch>
            </a:blipFill>
          </p:spPr>
        </p:sp>
      </p:grpSp>
      <p:sp>
        <p:nvSpPr>
          <p:cNvPr id="11" name="TextBox 11"/>
          <p:cNvSpPr txBox="1"/>
          <p:nvPr/>
        </p:nvSpPr>
        <p:spPr>
          <a:xfrm>
            <a:off x="2521025" y="4635815"/>
            <a:ext cx="6229167" cy="19204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7692"/>
              </a:lnSpc>
              <a:spcBef>
                <a:spcPct val="0"/>
              </a:spcBef>
            </a:pPr>
            <a:r>
              <a:rPr lang="en-US" sz="5574" u="none" strike="noStrike">
                <a:solidFill>
                  <a:srgbClr val="FFFFFF"/>
                </a:solidFill>
                <a:latin typeface="Archivo Black"/>
                <a:ea typeface="Archivo Black"/>
                <a:cs typeface="Archivo Black"/>
                <a:sym typeface="Archivo Black"/>
              </a:rPr>
              <a:t>THANK'S FOR WATCHING</a:t>
            </a:r>
          </a:p>
        </p:txBody>
      </p:sp>
      <p:sp>
        <p:nvSpPr>
          <p:cNvPr id="12" name="Freeform 12"/>
          <p:cNvSpPr/>
          <p:nvPr/>
        </p:nvSpPr>
        <p:spPr>
          <a:xfrm>
            <a:off x="12924060" y="9846926"/>
            <a:ext cx="2799147" cy="440074"/>
          </a:xfrm>
          <a:custGeom>
            <a:avLst/>
            <a:gdLst/>
            <a:ahLst/>
            <a:cxnLst/>
            <a:rect l="l" t="t" r="r" b="b"/>
            <a:pathLst>
              <a:path w="2799147" h="440074">
                <a:moveTo>
                  <a:pt x="0" y="0"/>
                </a:moveTo>
                <a:lnTo>
                  <a:pt x="2799146" y="0"/>
                </a:lnTo>
                <a:lnTo>
                  <a:pt x="2799146" y="440074"/>
                </a:lnTo>
                <a:lnTo>
                  <a:pt x="0" y="44007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5622"/>
            </a:stretch>
          </a:blipFill>
        </p:spPr>
      </p:sp>
      <p:grpSp>
        <p:nvGrpSpPr>
          <p:cNvPr id="13" name="Group 13"/>
          <p:cNvGrpSpPr>
            <a:grpSpLocks noChangeAspect="1"/>
          </p:cNvGrpSpPr>
          <p:nvPr/>
        </p:nvGrpSpPr>
        <p:grpSpPr>
          <a:xfrm>
            <a:off x="12924060" y="7191421"/>
            <a:ext cx="2799147" cy="2799147"/>
            <a:chOff x="0" y="0"/>
            <a:chExt cx="6350000" cy="6350000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6"/>
              <a:stretch>
                <a:fillRect l="-25155" r="-25155"/>
              </a:stretch>
            </a:blipFill>
          </p:spPr>
        </p:sp>
      </p:grpSp>
      <p:sp>
        <p:nvSpPr>
          <p:cNvPr id="15" name="Freeform 15"/>
          <p:cNvSpPr/>
          <p:nvPr/>
        </p:nvSpPr>
        <p:spPr>
          <a:xfrm>
            <a:off x="12924060" y="6382896"/>
            <a:ext cx="2799147" cy="440074"/>
          </a:xfrm>
          <a:custGeom>
            <a:avLst/>
            <a:gdLst/>
            <a:ahLst/>
            <a:cxnLst/>
            <a:rect l="l" t="t" r="r" b="b"/>
            <a:pathLst>
              <a:path w="2799147" h="440074">
                <a:moveTo>
                  <a:pt x="0" y="0"/>
                </a:moveTo>
                <a:lnTo>
                  <a:pt x="2799146" y="0"/>
                </a:lnTo>
                <a:lnTo>
                  <a:pt x="2799146" y="440074"/>
                </a:lnTo>
                <a:lnTo>
                  <a:pt x="0" y="44007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5622"/>
            </a:stretch>
          </a:blipFill>
        </p:spPr>
      </p:sp>
      <p:grpSp>
        <p:nvGrpSpPr>
          <p:cNvPr id="16" name="Group 16"/>
          <p:cNvGrpSpPr>
            <a:grpSpLocks noChangeAspect="1"/>
          </p:cNvGrpSpPr>
          <p:nvPr/>
        </p:nvGrpSpPr>
        <p:grpSpPr>
          <a:xfrm>
            <a:off x="12924060" y="3727391"/>
            <a:ext cx="2799147" cy="2799147"/>
            <a:chOff x="0" y="0"/>
            <a:chExt cx="6350000" cy="6350000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4"/>
              <a:stretch>
                <a:fillRect l="-24991" r="-24991"/>
              </a:stretch>
            </a:blipFill>
          </p:spPr>
        </p:sp>
      </p:grpSp>
      <p:sp>
        <p:nvSpPr>
          <p:cNvPr id="18" name="Freeform 18"/>
          <p:cNvSpPr/>
          <p:nvPr/>
        </p:nvSpPr>
        <p:spPr>
          <a:xfrm>
            <a:off x="12924060" y="2915843"/>
            <a:ext cx="2799147" cy="440074"/>
          </a:xfrm>
          <a:custGeom>
            <a:avLst/>
            <a:gdLst/>
            <a:ahLst/>
            <a:cxnLst/>
            <a:rect l="l" t="t" r="r" b="b"/>
            <a:pathLst>
              <a:path w="2799147" h="440074">
                <a:moveTo>
                  <a:pt x="0" y="0"/>
                </a:moveTo>
                <a:lnTo>
                  <a:pt x="2799146" y="0"/>
                </a:lnTo>
                <a:lnTo>
                  <a:pt x="2799146" y="440073"/>
                </a:lnTo>
                <a:lnTo>
                  <a:pt x="0" y="440073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5622"/>
            </a:stretch>
          </a:blipFill>
        </p:spPr>
      </p:sp>
      <p:grpSp>
        <p:nvGrpSpPr>
          <p:cNvPr id="19" name="Group 19"/>
          <p:cNvGrpSpPr>
            <a:grpSpLocks noChangeAspect="1"/>
          </p:cNvGrpSpPr>
          <p:nvPr/>
        </p:nvGrpSpPr>
        <p:grpSpPr>
          <a:xfrm>
            <a:off x="12924060" y="260338"/>
            <a:ext cx="2799147" cy="2799147"/>
            <a:chOff x="0" y="0"/>
            <a:chExt cx="6350000" cy="6350000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7"/>
              <a:stretch>
                <a:fillRect l="-24991" r="-24991"/>
              </a:stretch>
            </a:blipFill>
          </p:spPr>
        </p:sp>
      </p:grpSp>
      <p:sp>
        <p:nvSpPr>
          <p:cNvPr id="21" name="Freeform 21"/>
          <p:cNvSpPr/>
          <p:nvPr/>
        </p:nvSpPr>
        <p:spPr>
          <a:xfrm>
            <a:off x="16189931" y="7929174"/>
            <a:ext cx="2799147" cy="440074"/>
          </a:xfrm>
          <a:custGeom>
            <a:avLst/>
            <a:gdLst/>
            <a:ahLst/>
            <a:cxnLst/>
            <a:rect l="l" t="t" r="r" b="b"/>
            <a:pathLst>
              <a:path w="2799147" h="440074">
                <a:moveTo>
                  <a:pt x="0" y="0"/>
                </a:moveTo>
                <a:lnTo>
                  <a:pt x="2799147" y="0"/>
                </a:lnTo>
                <a:lnTo>
                  <a:pt x="2799147" y="440073"/>
                </a:lnTo>
                <a:lnTo>
                  <a:pt x="0" y="440073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5622"/>
            </a:stretch>
          </a:blipFill>
        </p:spPr>
      </p:sp>
      <p:grpSp>
        <p:nvGrpSpPr>
          <p:cNvPr id="22" name="Group 22"/>
          <p:cNvGrpSpPr>
            <a:grpSpLocks noChangeAspect="1"/>
          </p:cNvGrpSpPr>
          <p:nvPr/>
        </p:nvGrpSpPr>
        <p:grpSpPr>
          <a:xfrm>
            <a:off x="16189931" y="5273669"/>
            <a:ext cx="2799147" cy="2799147"/>
            <a:chOff x="0" y="0"/>
            <a:chExt cx="6350000" cy="6350000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8"/>
              <a:stretch>
                <a:fillRect t="-24985" b="-24985"/>
              </a:stretch>
            </a:blipFill>
          </p:spPr>
        </p:sp>
      </p:grpSp>
      <p:sp>
        <p:nvSpPr>
          <p:cNvPr id="24" name="Freeform 24"/>
          <p:cNvSpPr/>
          <p:nvPr/>
        </p:nvSpPr>
        <p:spPr>
          <a:xfrm>
            <a:off x="16189931" y="4465144"/>
            <a:ext cx="2799147" cy="440074"/>
          </a:xfrm>
          <a:custGeom>
            <a:avLst/>
            <a:gdLst/>
            <a:ahLst/>
            <a:cxnLst/>
            <a:rect l="l" t="t" r="r" b="b"/>
            <a:pathLst>
              <a:path w="2799147" h="440074">
                <a:moveTo>
                  <a:pt x="0" y="0"/>
                </a:moveTo>
                <a:lnTo>
                  <a:pt x="2799147" y="0"/>
                </a:lnTo>
                <a:lnTo>
                  <a:pt x="2799147" y="440073"/>
                </a:lnTo>
                <a:lnTo>
                  <a:pt x="0" y="440073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5622"/>
            </a:stretch>
          </a:blipFill>
        </p:spPr>
      </p:sp>
      <p:grpSp>
        <p:nvGrpSpPr>
          <p:cNvPr id="25" name="Group 25"/>
          <p:cNvGrpSpPr>
            <a:grpSpLocks noChangeAspect="1"/>
          </p:cNvGrpSpPr>
          <p:nvPr/>
        </p:nvGrpSpPr>
        <p:grpSpPr>
          <a:xfrm>
            <a:off x="16189931" y="1809639"/>
            <a:ext cx="2799147" cy="2799147"/>
            <a:chOff x="0" y="0"/>
            <a:chExt cx="6350000" cy="6350000"/>
          </a:xfrm>
        </p:grpSpPr>
        <p:sp>
          <p:nvSpPr>
            <p:cNvPr id="26" name="Freeform 26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9"/>
              <a:stretch>
                <a:fillRect l="-25015" r="-25015"/>
              </a:stretch>
            </a:blipFill>
          </p:spPr>
        </p:sp>
      </p:grpSp>
      <p:sp>
        <p:nvSpPr>
          <p:cNvPr id="27" name="Freeform 27"/>
          <p:cNvSpPr/>
          <p:nvPr/>
        </p:nvSpPr>
        <p:spPr>
          <a:xfrm>
            <a:off x="16189931" y="998090"/>
            <a:ext cx="2799147" cy="440074"/>
          </a:xfrm>
          <a:custGeom>
            <a:avLst/>
            <a:gdLst/>
            <a:ahLst/>
            <a:cxnLst/>
            <a:rect l="l" t="t" r="r" b="b"/>
            <a:pathLst>
              <a:path w="2799147" h="440074">
                <a:moveTo>
                  <a:pt x="0" y="0"/>
                </a:moveTo>
                <a:lnTo>
                  <a:pt x="2799147" y="0"/>
                </a:lnTo>
                <a:lnTo>
                  <a:pt x="2799147" y="440074"/>
                </a:lnTo>
                <a:lnTo>
                  <a:pt x="0" y="44007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25622"/>
            </a:stretch>
          </a:blipFill>
        </p:spPr>
      </p: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16189931" y="-1657415"/>
            <a:ext cx="2799147" cy="2799147"/>
            <a:chOff x="0" y="0"/>
            <a:chExt cx="6350000" cy="6350000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3"/>
              <a:stretch>
                <a:fillRect l="-30016" r="-30016"/>
              </a:stretch>
            </a:blipFill>
          </p:spPr>
        </p:sp>
      </p:grpSp>
      <p:grpSp>
        <p:nvGrpSpPr>
          <p:cNvPr id="30" name="Group 30"/>
          <p:cNvGrpSpPr>
            <a:grpSpLocks noChangeAspect="1"/>
          </p:cNvGrpSpPr>
          <p:nvPr/>
        </p:nvGrpSpPr>
        <p:grpSpPr>
          <a:xfrm>
            <a:off x="16189931" y="8703201"/>
            <a:ext cx="2799147" cy="2799147"/>
            <a:chOff x="0" y="0"/>
            <a:chExt cx="6350000" cy="6350000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5"/>
              <a:stretch>
                <a:fillRect t="-25078" b="-25078"/>
              </a:stretch>
            </a:blipFill>
          </p:spPr>
        </p:sp>
      </p:grpSp>
      <p:sp>
        <p:nvSpPr>
          <p:cNvPr id="32" name="Freeform 32"/>
          <p:cNvSpPr/>
          <p:nvPr/>
        </p:nvSpPr>
        <p:spPr>
          <a:xfrm>
            <a:off x="5012690" y="1579392"/>
            <a:ext cx="1245837" cy="985530"/>
          </a:xfrm>
          <a:custGeom>
            <a:avLst/>
            <a:gdLst/>
            <a:ahLst/>
            <a:cxnLst/>
            <a:rect l="l" t="t" r="r" b="b"/>
            <a:pathLst>
              <a:path w="1245837" h="985530">
                <a:moveTo>
                  <a:pt x="0" y="0"/>
                </a:moveTo>
                <a:lnTo>
                  <a:pt x="1245837" y="0"/>
                </a:lnTo>
                <a:lnTo>
                  <a:pt x="1245837" y="985531"/>
                </a:lnTo>
                <a:lnTo>
                  <a:pt x="0" y="985531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</p:sp>
      <p:sp>
        <p:nvSpPr>
          <p:cNvPr id="33" name="TextBox 33"/>
          <p:cNvSpPr txBox="1"/>
          <p:nvPr/>
        </p:nvSpPr>
        <p:spPr>
          <a:xfrm>
            <a:off x="4419761" y="2659629"/>
            <a:ext cx="2431696" cy="4762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92"/>
              </a:lnSpc>
            </a:pPr>
            <a:r>
              <a:rPr lang="en-US" sz="3077" spc="-61">
                <a:solidFill>
                  <a:srgbClr val="040506"/>
                </a:solidFill>
                <a:latin typeface="Montserrat Classic Bold"/>
                <a:ea typeface="Montserrat Classic Bold"/>
                <a:cs typeface="Montserrat Classic Bold"/>
                <a:sym typeface="Montserrat Classic Bold"/>
              </a:rPr>
              <a:t>BORCELLE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</p:sp>
      <p:sp>
        <p:nvSpPr>
          <p:cNvPr id="3" name="Freeform 3"/>
          <p:cNvSpPr/>
          <p:nvPr/>
        </p:nvSpPr>
        <p:spPr>
          <a:xfrm rot="2925483">
            <a:off x="5978889" y="4633519"/>
            <a:ext cx="15026802" cy="1591351"/>
          </a:xfrm>
          <a:custGeom>
            <a:avLst/>
            <a:gdLst/>
            <a:ahLst/>
            <a:cxnLst/>
            <a:rect l="l" t="t" r="r" b="b"/>
            <a:pathLst>
              <a:path w="15026802" h="1591351">
                <a:moveTo>
                  <a:pt x="0" y="0"/>
                </a:moveTo>
                <a:lnTo>
                  <a:pt x="15026802" y="0"/>
                </a:lnTo>
                <a:lnTo>
                  <a:pt x="15026802" y="1591350"/>
                </a:lnTo>
                <a:lnTo>
                  <a:pt x="0" y="159135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86495"/>
            </a:stretch>
          </a:blipFill>
        </p:spPr>
      </p: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9144000" y="1"/>
            <a:ext cx="9144000" cy="10287000"/>
            <a:chOff x="0" y="0"/>
            <a:chExt cx="5370413" cy="6041715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5370413" cy="6041715"/>
            </a:xfrm>
            <a:custGeom>
              <a:avLst/>
              <a:gdLst/>
              <a:ahLst/>
              <a:cxnLst/>
              <a:rect l="l" t="t" r="r" b="b"/>
              <a:pathLst>
                <a:path w="5370413" h="6041715">
                  <a:moveTo>
                    <a:pt x="5370413" y="0"/>
                  </a:moveTo>
                  <a:lnTo>
                    <a:pt x="5370413" y="6041715"/>
                  </a:lnTo>
                  <a:cubicBezTo>
                    <a:pt x="3580275" y="4027810"/>
                    <a:pt x="1790138" y="2013905"/>
                    <a:pt x="0" y="0"/>
                  </a:cubicBezTo>
                  <a:lnTo>
                    <a:pt x="5370413" y="0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6" name="Freeform 6"/>
            <p:cNvSpPr/>
            <p:nvPr/>
          </p:nvSpPr>
          <p:spPr>
            <a:xfrm>
              <a:off x="0" y="0"/>
              <a:ext cx="5370413" cy="6041715"/>
            </a:xfrm>
            <a:custGeom>
              <a:avLst/>
              <a:gdLst/>
              <a:ahLst/>
              <a:cxnLst/>
              <a:rect l="l" t="t" r="r" b="b"/>
              <a:pathLst>
                <a:path w="5370413" h="6041715">
                  <a:moveTo>
                    <a:pt x="5370413" y="0"/>
                  </a:moveTo>
                  <a:lnTo>
                    <a:pt x="5370413" y="6041715"/>
                  </a:lnTo>
                  <a:cubicBezTo>
                    <a:pt x="3580275" y="4027810"/>
                    <a:pt x="1790138" y="2013905"/>
                    <a:pt x="0" y="0"/>
                  </a:cubicBezTo>
                  <a:lnTo>
                    <a:pt x="5370413" y="0"/>
                  </a:lnTo>
                  <a:close/>
                </a:path>
              </a:pathLst>
            </a:custGeom>
            <a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colorTemperature colorTemp="88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7" name="Group 7"/>
          <p:cNvGrpSpPr/>
          <p:nvPr/>
        </p:nvGrpSpPr>
        <p:grpSpPr>
          <a:xfrm>
            <a:off x="2122031" y="4270779"/>
            <a:ext cx="1828744" cy="1828744"/>
            <a:chOff x="0" y="0"/>
            <a:chExt cx="812800" cy="8128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10101"/>
            </a:solidFill>
          </p:spPr>
        </p:sp>
        <p:sp>
          <p:nvSpPr>
            <p:cNvPr id="9" name="TextBox 9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sp>
        <p:nvSpPr>
          <p:cNvPr id="10" name="Freeform 10"/>
          <p:cNvSpPr/>
          <p:nvPr/>
        </p:nvSpPr>
        <p:spPr>
          <a:xfrm>
            <a:off x="2456932" y="4728682"/>
            <a:ext cx="1236499" cy="858804"/>
          </a:xfrm>
          <a:custGeom>
            <a:avLst/>
            <a:gdLst/>
            <a:ahLst/>
            <a:cxnLst/>
            <a:rect l="l" t="t" r="r" b="b"/>
            <a:pathLst>
              <a:path w="1236499" h="858804">
                <a:moveTo>
                  <a:pt x="0" y="0"/>
                </a:moveTo>
                <a:lnTo>
                  <a:pt x="1236498" y="0"/>
                </a:lnTo>
                <a:lnTo>
                  <a:pt x="1236498" y="858804"/>
                </a:lnTo>
                <a:lnTo>
                  <a:pt x="0" y="858804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grpSp>
        <p:nvGrpSpPr>
          <p:cNvPr id="11" name="Group 11"/>
          <p:cNvGrpSpPr/>
          <p:nvPr/>
        </p:nvGrpSpPr>
        <p:grpSpPr>
          <a:xfrm>
            <a:off x="2122031" y="6625687"/>
            <a:ext cx="1828744" cy="1828744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10101"/>
            </a:solidFill>
          </p:spPr>
        </p:sp>
        <p:sp>
          <p:nvSpPr>
            <p:cNvPr id="13" name="TextBox 13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sp>
        <p:nvSpPr>
          <p:cNvPr id="14" name="Freeform 14"/>
          <p:cNvSpPr/>
          <p:nvPr/>
        </p:nvSpPr>
        <p:spPr>
          <a:xfrm>
            <a:off x="2553577" y="7025093"/>
            <a:ext cx="1043208" cy="1029931"/>
          </a:xfrm>
          <a:custGeom>
            <a:avLst/>
            <a:gdLst/>
            <a:ahLst/>
            <a:cxnLst/>
            <a:rect l="l" t="t" r="r" b="b"/>
            <a:pathLst>
              <a:path w="1043208" h="1029931">
                <a:moveTo>
                  <a:pt x="0" y="0"/>
                </a:moveTo>
                <a:lnTo>
                  <a:pt x="1043208" y="0"/>
                </a:lnTo>
                <a:lnTo>
                  <a:pt x="1043208" y="1029931"/>
                </a:lnTo>
                <a:lnTo>
                  <a:pt x="0" y="1029931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</p:sp>
      <p:grpSp>
        <p:nvGrpSpPr>
          <p:cNvPr id="15" name="Group 15"/>
          <p:cNvGrpSpPr/>
          <p:nvPr/>
        </p:nvGrpSpPr>
        <p:grpSpPr>
          <a:xfrm>
            <a:off x="-3950263" y="803081"/>
            <a:ext cx="15859325" cy="2258023"/>
            <a:chOff x="0" y="0"/>
            <a:chExt cx="1537211" cy="218865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1537211" cy="218865"/>
            </a:xfrm>
            <a:custGeom>
              <a:avLst/>
              <a:gdLst/>
              <a:ahLst/>
              <a:cxnLst/>
              <a:rect l="l" t="t" r="r" b="b"/>
              <a:pathLst>
                <a:path w="1537211" h="218865">
                  <a:moveTo>
                    <a:pt x="1334011" y="0"/>
                  </a:moveTo>
                  <a:lnTo>
                    <a:pt x="0" y="0"/>
                  </a:lnTo>
                  <a:lnTo>
                    <a:pt x="203200" y="218865"/>
                  </a:lnTo>
                  <a:lnTo>
                    <a:pt x="1537211" y="218865"/>
                  </a:lnTo>
                  <a:lnTo>
                    <a:pt x="1334011" y="0"/>
                  </a:lnTo>
                  <a:close/>
                </a:path>
              </a:pathLst>
            </a:custGeom>
            <a:solidFill>
              <a:srgbClr val="010101"/>
            </a:solidFill>
            <a:ln cap="sq">
              <a:noFill/>
              <a:prstDash val="solid"/>
              <a:miter/>
            </a:ln>
          </p:spPr>
        </p:sp>
        <p:sp>
          <p:nvSpPr>
            <p:cNvPr id="17" name="TextBox 17"/>
            <p:cNvSpPr txBox="1"/>
            <p:nvPr/>
          </p:nvSpPr>
          <p:spPr>
            <a:xfrm>
              <a:off x="101600" y="-19050"/>
              <a:ext cx="1334011" cy="23791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8" name="TextBox 18"/>
          <p:cNvSpPr txBox="1"/>
          <p:nvPr/>
        </p:nvSpPr>
        <p:spPr>
          <a:xfrm>
            <a:off x="4188259" y="4401034"/>
            <a:ext cx="7132181" cy="153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3050"/>
              </a:lnSpc>
              <a:spcBef>
                <a:spcPct val="0"/>
              </a:spcBef>
            </a:pPr>
            <a:r>
              <a:rPr lang="en-US" sz="2210" spc="216">
                <a:solidFill>
                  <a:srgbClr val="231F2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4188259" y="6755942"/>
            <a:ext cx="7132181" cy="15301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3050"/>
              </a:lnSpc>
              <a:spcBef>
                <a:spcPct val="0"/>
              </a:spcBef>
            </a:pPr>
            <a:r>
              <a:rPr lang="en-US" sz="2210" spc="216">
                <a:solidFill>
                  <a:srgbClr val="231F2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1752601" y="1304859"/>
            <a:ext cx="7786372" cy="11343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0" indent="0" algn="ctr">
              <a:lnSpc>
                <a:spcPts val="9286"/>
              </a:lnSpc>
              <a:spcBef>
                <a:spcPct val="0"/>
              </a:spcBef>
            </a:pPr>
            <a:r>
              <a:rPr lang="en-US" sz="6729" u="none" strike="noStrike" spc="53" dirty="0">
                <a:solidFill>
                  <a:srgbClr val="FFFFFF"/>
                </a:solidFill>
                <a:latin typeface="Archivo Black"/>
                <a:ea typeface="Archivo Black"/>
                <a:cs typeface="Archivo Black"/>
                <a:sym typeface="Archivo Black"/>
              </a:rPr>
              <a:t>INTRODUCTION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61111" b="-61111"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1357312" y="1028700"/>
            <a:ext cx="15591759" cy="8229600"/>
            <a:chOff x="0" y="0"/>
            <a:chExt cx="4106471" cy="2167467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4106471" cy="2167467"/>
            </a:xfrm>
            <a:custGeom>
              <a:avLst/>
              <a:gdLst/>
              <a:ahLst/>
              <a:cxnLst/>
              <a:rect l="l" t="t" r="r" b="b"/>
              <a:pathLst>
                <a:path w="4106471" h="2167467">
                  <a:moveTo>
                    <a:pt x="12413" y="0"/>
                  </a:moveTo>
                  <a:lnTo>
                    <a:pt x="4094058" y="0"/>
                  </a:lnTo>
                  <a:cubicBezTo>
                    <a:pt x="4100914" y="0"/>
                    <a:pt x="4106471" y="5558"/>
                    <a:pt x="4106471" y="12413"/>
                  </a:cubicBezTo>
                  <a:lnTo>
                    <a:pt x="4106471" y="2155053"/>
                  </a:lnTo>
                  <a:cubicBezTo>
                    <a:pt x="4106471" y="2158346"/>
                    <a:pt x="4105164" y="2161503"/>
                    <a:pt x="4102836" y="2163831"/>
                  </a:cubicBezTo>
                  <a:cubicBezTo>
                    <a:pt x="4100507" y="2166159"/>
                    <a:pt x="4097350" y="2167467"/>
                    <a:pt x="4094058" y="2167467"/>
                  </a:cubicBezTo>
                  <a:lnTo>
                    <a:pt x="12413" y="2167467"/>
                  </a:lnTo>
                  <a:cubicBezTo>
                    <a:pt x="9121" y="2167467"/>
                    <a:pt x="5964" y="2166159"/>
                    <a:pt x="3636" y="2163831"/>
                  </a:cubicBezTo>
                  <a:cubicBezTo>
                    <a:pt x="1308" y="2161503"/>
                    <a:pt x="0" y="2158346"/>
                    <a:pt x="0" y="2155053"/>
                  </a:cubicBezTo>
                  <a:lnTo>
                    <a:pt x="0" y="12413"/>
                  </a:lnTo>
                  <a:cubicBezTo>
                    <a:pt x="0" y="9121"/>
                    <a:pt x="1308" y="5964"/>
                    <a:pt x="3636" y="3636"/>
                  </a:cubicBezTo>
                  <a:cubicBezTo>
                    <a:pt x="5964" y="1308"/>
                    <a:pt x="9121" y="0"/>
                    <a:pt x="12413" y="0"/>
                  </a:cubicBezTo>
                  <a:close/>
                </a:path>
              </a:pathLst>
            </a:custGeom>
            <a:solidFill>
              <a:srgbClr val="FFFFFF">
                <a:alpha val="86667"/>
              </a:srgbClr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19050"/>
              <a:ext cx="4106471" cy="2186517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2495914" y="3603602"/>
            <a:ext cx="3086100" cy="4784036"/>
            <a:chOff x="0" y="0"/>
            <a:chExt cx="812800" cy="1259993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812800" cy="1259993"/>
            </a:xfrm>
            <a:custGeom>
              <a:avLst/>
              <a:gdLst/>
              <a:ahLst/>
              <a:cxnLst/>
              <a:rect l="l" t="t" r="r" b="b"/>
              <a:pathLst>
                <a:path w="812800" h="1259993">
                  <a:moveTo>
                    <a:pt x="50173" y="0"/>
                  </a:moveTo>
                  <a:lnTo>
                    <a:pt x="762627" y="0"/>
                  </a:lnTo>
                  <a:cubicBezTo>
                    <a:pt x="775934" y="0"/>
                    <a:pt x="788695" y="5286"/>
                    <a:pt x="798105" y="14695"/>
                  </a:cubicBezTo>
                  <a:cubicBezTo>
                    <a:pt x="807514" y="24105"/>
                    <a:pt x="812800" y="36866"/>
                    <a:pt x="812800" y="50173"/>
                  </a:cubicBezTo>
                  <a:lnTo>
                    <a:pt x="812800" y="1209820"/>
                  </a:lnTo>
                  <a:cubicBezTo>
                    <a:pt x="812800" y="1223127"/>
                    <a:pt x="807514" y="1235889"/>
                    <a:pt x="798105" y="1245298"/>
                  </a:cubicBezTo>
                  <a:cubicBezTo>
                    <a:pt x="788695" y="1254707"/>
                    <a:pt x="775934" y="1259993"/>
                    <a:pt x="762627" y="1259993"/>
                  </a:cubicBezTo>
                  <a:lnTo>
                    <a:pt x="50173" y="1259993"/>
                  </a:lnTo>
                  <a:cubicBezTo>
                    <a:pt x="36866" y="1259993"/>
                    <a:pt x="24105" y="1254707"/>
                    <a:pt x="14695" y="1245298"/>
                  </a:cubicBezTo>
                  <a:cubicBezTo>
                    <a:pt x="5286" y="1235889"/>
                    <a:pt x="0" y="1223127"/>
                    <a:pt x="0" y="1209820"/>
                  </a:cubicBezTo>
                  <a:lnTo>
                    <a:pt x="0" y="50173"/>
                  </a:lnTo>
                  <a:cubicBezTo>
                    <a:pt x="0" y="36866"/>
                    <a:pt x="5286" y="24105"/>
                    <a:pt x="14695" y="14695"/>
                  </a:cubicBezTo>
                  <a:cubicBezTo>
                    <a:pt x="24105" y="5286"/>
                    <a:pt x="36866" y="0"/>
                    <a:pt x="50173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57150" cap="sq">
              <a:solidFill>
                <a:srgbClr val="000000"/>
              </a:solidFill>
              <a:prstDash val="solid"/>
              <a:miter/>
            </a:ln>
          </p:spPr>
        </p:sp>
        <p:sp>
          <p:nvSpPr>
            <p:cNvPr id="8" name="TextBox 8"/>
            <p:cNvSpPr txBox="1"/>
            <p:nvPr/>
          </p:nvSpPr>
          <p:spPr>
            <a:xfrm>
              <a:off x="0" y="-19050"/>
              <a:ext cx="812800" cy="127904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2495914" y="5528564"/>
            <a:ext cx="3086100" cy="507624"/>
            <a:chOff x="0" y="0"/>
            <a:chExt cx="812800" cy="133695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812800" cy="133695"/>
            </a:xfrm>
            <a:custGeom>
              <a:avLst/>
              <a:gdLst/>
              <a:ahLst/>
              <a:cxnLst/>
              <a:rect l="l" t="t" r="r" b="b"/>
              <a:pathLst>
                <a:path w="812800" h="133695">
                  <a:moveTo>
                    <a:pt x="0" y="0"/>
                  </a:moveTo>
                  <a:lnTo>
                    <a:pt x="812800" y="0"/>
                  </a:lnTo>
                  <a:lnTo>
                    <a:pt x="812800" y="133695"/>
                  </a:lnTo>
                  <a:lnTo>
                    <a:pt x="0" y="133695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-19050"/>
              <a:ext cx="812800" cy="15274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r>
                <a:rPr lang="en-US" sz="2199">
                  <a:solidFill>
                    <a:srgbClr val="FFFFFF"/>
                  </a:solidFill>
                  <a:latin typeface="Montserrat Classic"/>
                  <a:ea typeface="Montserrat Classic"/>
                  <a:cs typeface="Montserrat Classic"/>
                  <a:sym typeface="Montserrat Classic"/>
                </a:rPr>
                <a:t>Integrity</a:t>
              </a:r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5900738" y="3603602"/>
            <a:ext cx="3086100" cy="4784036"/>
            <a:chOff x="0" y="0"/>
            <a:chExt cx="812800" cy="1259993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12800" cy="1259993"/>
            </a:xfrm>
            <a:custGeom>
              <a:avLst/>
              <a:gdLst/>
              <a:ahLst/>
              <a:cxnLst/>
              <a:rect l="l" t="t" r="r" b="b"/>
              <a:pathLst>
                <a:path w="812800" h="1259993">
                  <a:moveTo>
                    <a:pt x="50173" y="0"/>
                  </a:moveTo>
                  <a:lnTo>
                    <a:pt x="762627" y="0"/>
                  </a:lnTo>
                  <a:cubicBezTo>
                    <a:pt x="775934" y="0"/>
                    <a:pt x="788695" y="5286"/>
                    <a:pt x="798105" y="14695"/>
                  </a:cubicBezTo>
                  <a:cubicBezTo>
                    <a:pt x="807514" y="24105"/>
                    <a:pt x="812800" y="36866"/>
                    <a:pt x="812800" y="50173"/>
                  </a:cubicBezTo>
                  <a:lnTo>
                    <a:pt x="812800" y="1209820"/>
                  </a:lnTo>
                  <a:cubicBezTo>
                    <a:pt x="812800" y="1223127"/>
                    <a:pt x="807514" y="1235889"/>
                    <a:pt x="798105" y="1245298"/>
                  </a:cubicBezTo>
                  <a:cubicBezTo>
                    <a:pt x="788695" y="1254707"/>
                    <a:pt x="775934" y="1259993"/>
                    <a:pt x="762627" y="1259993"/>
                  </a:cubicBezTo>
                  <a:lnTo>
                    <a:pt x="50173" y="1259993"/>
                  </a:lnTo>
                  <a:cubicBezTo>
                    <a:pt x="36866" y="1259993"/>
                    <a:pt x="24105" y="1254707"/>
                    <a:pt x="14695" y="1245298"/>
                  </a:cubicBezTo>
                  <a:cubicBezTo>
                    <a:pt x="5286" y="1235889"/>
                    <a:pt x="0" y="1223127"/>
                    <a:pt x="0" y="1209820"/>
                  </a:cubicBezTo>
                  <a:lnTo>
                    <a:pt x="0" y="50173"/>
                  </a:lnTo>
                  <a:cubicBezTo>
                    <a:pt x="0" y="36866"/>
                    <a:pt x="5286" y="24105"/>
                    <a:pt x="14695" y="14695"/>
                  </a:cubicBezTo>
                  <a:cubicBezTo>
                    <a:pt x="24105" y="5286"/>
                    <a:pt x="36866" y="0"/>
                    <a:pt x="50173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57150" cap="sq">
              <a:solidFill>
                <a:srgbClr val="000000"/>
              </a:solidFill>
              <a:prstDash val="solid"/>
              <a:miter/>
            </a:ln>
          </p:spPr>
        </p:sp>
        <p:sp>
          <p:nvSpPr>
            <p:cNvPr id="14" name="TextBox 14"/>
            <p:cNvSpPr txBox="1"/>
            <p:nvPr/>
          </p:nvSpPr>
          <p:spPr>
            <a:xfrm>
              <a:off x="0" y="-19050"/>
              <a:ext cx="812800" cy="127904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5900738" y="5528564"/>
            <a:ext cx="3086100" cy="507624"/>
            <a:chOff x="0" y="0"/>
            <a:chExt cx="812800" cy="133695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812800" cy="133695"/>
            </a:xfrm>
            <a:custGeom>
              <a:avLst/>
              <a:gdLst/>
              <a:ahLst/>
              <a:cxnLst/>
              <a:rect l="l" t="t" r="r" b="b"/>
              <a:pathLst>
                <a:path w="812800" h="133695">
                  <a:moveTo>
                    <a:pt x="0" y="0"/>
                  </a:moveTo>
                  <a:lnTo>
                    <a:pt x="812800" y="0"/>
                  </a:lnTo>
                  <a:lnTo>
                    <a:pt x="812800" y="133695"/>
                  </a:lnTo>
                  <a:lnTo>
                    <a:pt x="0" y="133695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0" y="-19050"/>
              <a:ext cx="812800" cy="15274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r>
                <a:rPr lang="en-US" sz="2199">
                  <a:solidFill>
                    <a:srgbClr val="FFFFFF"/>
                  </a:solidFill>
                  <a:latin typeface="Montserrat Classic"/>
                  <a:ea typeface="Montserrat Classic"/>
                  <a:cs typeface="Montserrat Classic"/>
                  <a:sym typeface="Montserrat Classic"/>
                </a:rPr>
                <a:t>Excellence</a:t>
              </a:r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9301162" y="3603602"/>
            <a:ext cx="3086100" cy="4784036"/>
            <a:chOff x="0" y="0"/>
            <a:chExt cx="812800" cy="1259993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812800" cy="1259993"/>
            </a:xfrm>
            <a:custGeom>
              <a:avLst/>
              <a:gdLst/>
              <a:ahLst/>
              <a:cxnLst/>
              <a:rect l="l" t="t" r="r" b="b"/>
              <a:pathLst>
                <a:path w="812800" h="1259993">
                  <a:moveTo>
                    <a:pt x="50173" y="0"/>
                  </a:moveTo>
                  <a:lnTo>
                    <a:pt x="762627" y="0"/>
                  </a:lnTo>
                  <a:cubicBezTo>
                    <a:pt x="775934" y="0"/>
                    <a:pt x="788695" y="5286"/>
                    <a:pt x="798105" y="14695"/>
                  </a:cubicBezTo>
                  <a:cubicBezTo>
                    <a:pt x="807514" y="24105"/>
                    <a:pt x="812800" y="36866"/>
                    <a:pt x="812800" y="50173"/>
                  </a:cubicBezTo>
                  <a:lnTo>
                    <a:pt x="812800" y="1209820"/>
                  </a:lnTo>
                  <a:cubicBezTo>
                    <a:pt x="812800" y="1223127"/>
                    <a:pt x="807514" y="1235889"/>
                    <a:pt x="798105" y="1245298"/>
                  </a:cubicBezTo>
                  <a:cubicBezTo>
                    <a:pt x="788695" y="1254707"/>
                    <a:pt x="775934" y="1259993"/>
                    <a:pt x="762627" y="1259993"/>
                  </a:cubicBezTo>
                  <a:lnTo>
                    <a:pt x="50173" y="1259993"/>
                  </a:lnTo>
                  <a:cubicBezTo>
                    <a:pt x="36866" y="1259993"/>
                    <a:pt x="24105" y="1254707"/>
                    <a:pt x="14695" y="1245298"/>
                  </a:cubicBezTo>
                  <a:cubicBezTo>
                    <a:pt x="5286" y="1235889"/>
                    <a:pt x="0" y="1223127"/>
                    <a:pt x="0" y="1209820"/>
                  </a:cubicBezTo>
                  <a:lnTo>
                    <a:pt x="0" y="50173"/>
                  </a:lnTo>
                  <a:cubicBezTo>
                    <a:pt x="0" y="36866"/>
                    <a:pt x="5286" y="24105"/>
                    <a:pt x="14695" y="14695"/>
                  </a:cubicBezTo>
                  <a:cubicBezTo>
                    <a:pt x="24105" y="5286"/>
                    <a:pt x="36866" y="0"/>
                    <a:pt x="50173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57150" cap="sq">
              <a:solidFill>
                <a:srgbClr val="000000"/>
              </a:solidFill>
              <a:prstDash val="solid"/>
              <a:miter/>
            </a:ln>
          </p:spPr>
        </p:sp>
        <p:sp>
          <p:nvSpPr>
            <p:cNvPr id="20" name="TextBox 20"/>
            <p:cNvSpPr txBox="1"/>
            <p:nvPr/>
          </p:nvSpPr>
          <p:spPr>
            <a:xfrm>
              <a:off x="0" y="-19050"/>
              <a:ext cx="812800" cy="127904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9301162" y="5528564"/>
            <a:ext cx="3086100" cy="507624"/>
            <a:chOff x="0" y="0"/>
            <a:chExt cx="812800" cy="133695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812800" cy="133695"/>
            </a:xfrm>
            <a:custGeom>
              <a:avLst/>
              <a:gdLst/>
              <a:ahLst/>
              <a:cxnLst/>
              <a:rect l="l" t="t" r="r" b="b"/>
              <a:pathLst>
                <a:path w="812800" h="133695">
                  <a:moveTo>
                    <a:pt x="0" y="0"/>
                  </a:moveTo>
                  <a:lnTo>
                    <a:pt x="812800" y="0"/>
                  </a:lnTo>
                  <a:lnTo>
                    <a:pt x="812800" y="133695"/>
                  </a:lnTo>
                  <a:lnTo>
                    <a:pt x="0" y="133695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23" name="TextBox 23"/>
            <p:cNvSpPr txBox="1"/>
            <p:nvPr/>
          </p:nvSpPr>
          <p:spPr>
            <a:xfrm>
              <a:off x="0" y="-19050"/>
              <a:ext cx="812800" cy="15274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r>
                <a:rPr lang="en-US" sz="2199">
                  <a:solidFill>
                    <a:srgbClr val="FFFFFF"/>
                  </a:solidFill>
                  <a:latin typeface="Montserrat Classic"/>
                  <a:ea typeface="Montserrat Classic"/>
                  <a:cs typeface="Montserrat Classic"/>
                  <a:sym typeface="Montserrat Classic"/>
                </a:rPr>
                <a:t>Collaboration</a:t>
              </a:r>
            </a:p>
          </p:txBody>
        </p:sp>
      </p:grpSp>
      <p:grpSp>
        <p:nvGrpSpPr>
          <p:cNvPr id="24" name="Group 24"/>
          <p:cNvGrpSpPr/>
          <p:nvPr/>
        </p:nvGrpSpPr>
        <p:grpSpPr>
          <a:xfrm>
            <a:off x="12705986" y="3603602"/>
            <a:ext cx="3086100" cy="4784036"/>
            <a:chOff x="0" y="0"/>
            <a:chExt cx="812800" cy="1259993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812800" cy="1259993"/>
            </a:xfrm>
            <a:custGeom>
              <a:avLst/>
              <a:gdLst/>
              <a:ahLst/>
              <a:cxnLst/>
              <a:rect l="l" t="t" r="r" b="b"/>
              <a:pathLst>
                <a:path w="812800" h="1259993">
                  <a:moveTo>
                    <a:pt x="50173" y="0"/>
                  </a:moveTo>
                  <a:lnTo>
                    <a:pt x="762627" y="0"/>
                  </a:lnTo>
                  <a:cubicBezTo>
                    <a:pt x="775934" y="0"/>
                    <a:pt x="788695" y="5286"/>
                    <a:pt x="798105" y="14695"/>
                  </a:cubicBezTo>
                  <a:cubicBezTo>
                    <a:pt x="807514" y="24105"/>
                    <a:pt x="812800" y="36866"/>
                    <a:pt x="812800" y="50173"/>
                  </a:cubicBezTo>
                  <a:lnTo>
                    <a:pt x="812800" y="1209820"/>
                  </a:lnTo>
                  <a:cubicBezTo>
                    <a:pt x="812800" y="1223127"/>
                    <a:pt x="807514" y="1235889"/>
                    <a:pt x="798105" y="1245298"/>
                  </a:cubicBezTo>
                  <a:cubicBezTo>
                    <a:pt x="788695" y="1254707"/>
                    <a:pt x="775934" y="1259993"/>
                    <a:pt x="762627" y="1259993"/>
                  </a:cubicBezTo>
                  <a:lnTo>
                    <a:pt x="50173" y="1259993"/>
                  </a:lnTo>
                  <a:cubicBezTo>
                    <a:pt x="36866" y="1259993"/>
                    <a:pt x="24105" y="1254707"/>
                    <a:pt x="14695" y="1245298"/>
                  </a:cubicBezTo>
                  <a:cubicBezTo>
                    <a:pt x="5286" y="1235889"/>
                    <a:pt x="0" y="1223127"/>
                    <a:pt x="0" y="1209820"/>
                  </a:cubicBezTo>
                  <a:lnTo>
                    <a:pt x="0" y="50173"/>
                  </a:lnTo>
                  <a:cubicBezTo>
                    <a:pt x="0" y="36866"/>
                    <a:pt x="5286" y="24105"/>
                    <a:pt x="14695" y="14695"/>
                  </a:cubicBezTo>
                  <a:cubicBezTo>
                    <a:pt x="24105" y="5286"/>
                    <a:pt x="36866" y="0"/>
                    <a:pt x="50173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57150" cap="sq">
              <a:solidFill>
                <a:srgbClr val="000000"/>
              </a:solidFill>
              <a:prstDash val="solid"/>
              <a:miter/>
            </a:ln>
          </p:spPr>
        </p:sp>
        <p:sp>
          <p:nvSpPr>
            <p:cNvPr id="26" name="TextBox 26"/>
            <p:cNvSpPr txBox="1"/>
            <p:nvPr/>
          </p:nvSpPr>
          <p:spPr>
            <a:xfrm>
              <a:off x="0" y="-19050"/>
              <a:ext cx="812800" cy="127904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12705986" y="5528564"/>
            <a:ext cx="3086100" cy="507624"/>
            <a:chOff x="0" y="0"/>
            <a:chExt cx="812800" cy="133695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133695"/>
            </a:xfrm>
            <a:custGeom>
              <a:avLst/>
              <a:gdLst/>
              <a:ahLst/>
              <a:cxnLst/>
              <a:rect l="l" t="t" r="r" b="b"/>
              <a:pathLst>
                <a:path w="812800" h="133695">
                  <a:moveTo>
                    <a:pt x="0" y="0"/>
                  </a:moveTo>
                  <a:lnTo>
                    <a:pt x="812800" y="0"/>
                  </a:lnTo>
                  <a:lnTo>
                    <a:pt x="812800" y="133695"/>
                  </a:lnTo>
                  <a:lnTo>
                    <a:pt x="0" y="133695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29" name="TextBox 29"/>
            <p:cNvSpPr txBox="1"/>
            <p:nvPr/>
          </p:nvSpPr>
          <p:spPr>
            <a:xfrm>
              <a:off x="0" y="-19050"/>
              <a:ext cx="812800" cy="15274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r>
                <a:rPr lang="en-US" sz="2199">
                  <a:solidFill>
                    <a:srgbClr val="FFFFFF"/>
                  </a:solidFill>
                  <a:latin typeface="Montserrat Classic"/>
                  <a:ea typeface="Montserrat Classic"/>
                  <a:cs typeface="Montserrat Classic"/>
                  <a:sym typeface="Montserrat Classic"/>
                </a:rPr>
                <a:t>Innovation</a:t>
              </a:r>
            </a:p>
          </p:txBody>
        </p:sp>
      </p:grpSp>
      <p:sp>
        <p:nvSpPr>
          <p:cNvPr id="30" name="TextBox 30"/>
          <p:cNvSpPr txBox="1"/>
          <p:nvPr/>
        </p:nvSpPr>
        <p:spPr>
          <a:xfrm>
            <a:off x="3690980" y="1702311"/>
            <a:ext cx="10906040" cy="815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6548"/>
              </a:lnSpc>
              <a:spcBef>
                <a:spcPct val="0"/>
              </a:spcBef>
            </a:pPr>
            <a:r>
              <a:rPr lang="en-US" sz="4745" u="none" strike="noStrike" spc="37">
                <a:solidFill>
                  <a:srgbClr val="010101"/>
                </a:solidFill>
                <a:latin typeface="Archivo Black"/>
                <a:ea typeface="Archivo Black"/>
                <a:cs typeface="Archivo Black"/>
                <a:sym typeface="Archivo Black"/>
              </a:rPr>
              <a:t>VALUES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2640360" y="6250170"/>
            <a:ext cx="2722103" cy="17942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2084"/>
              </a:lnSpc>
              <a:spcBef>
                <a:spcPct val="0"/>
              </a:spcBef>
            </a:pPr>
            <a:r>
              <a:rPr lang="en-US" sz="1510" spc="148">
                <a:solidFill>
                  <a:srgbClr val="231F2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6045184" y="6250170"/>
            <a:ext cx="2722103" cy="17942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2084"/>
              </a:lnSpc>
              <a:spcBef>
                <a:spcPct val="0"/>
              </a:spcBef>
            </a:pPr>
            <a:r>
              <a:rPr lang="en-US" sz="1510" spc="148">
                <a:solidFill>
                  <a:srgbClr val="231F2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9445609" y="6250170"/>
            <a:ext cx="2722103" cy="17942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2084"/>
              </a:lnSpc>
              <a:spcBef>
                <a:spcPct val="0"/>
              </a:spcBef>
            </a:pPr>
            <a:r>
              <a:rPr lang="en-US" sz="1510" spc="148">
                <a:solidFill>
                  <a:srgbClr val="231F2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12850433" y="6250170"/>
            <a:ext cx="2722103" cy="17942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2084"/>
              </a:lnSpc>
              <a:spcBef>
                <a:spcPct val="0"/>
              </a:spcBef>
            </a:pPr>
            <a:r>
              <a:rPr lang="en-US" sz="1510" spc="148">
                <a:solidFill>
                  <a:srgbClr val="231F2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sp>
        <p:nvSpPr>
          <p:cNvPr id="35" name="Freeform 35"/>
          <p:cNvSpPr/>
          <p:nvPr/>
        </p:nvSpPr>
        <p:spPr>
          <a:xfrm>
            <a:off x="7062893" y="4100367"/>
            <a:ext cx="789574" cy="975879"/>
          </a:xfrm>
          <a:custGeom>
            <a:avLst/>
            <a:gdLst/>
            <a:ahLst/>
            <a:cxnLst/>
            <a:rect l="l" t="t" r="r" b="b"/>
            <a:pathLst>
              <a:path w="789574" h="975879">
                <a:moveTo>
                  <a:pt x="0" y="0"/>
                </a:moveTo>
                <a:lnTo>
                  <a:pt x="789574" y="0"/>
                </a:lnTo>
                <a:lnTo>
                  <a:pt x="789574" y="975879"/>
                </a:lnTo>
                <a:lnTo>
                  <a:pt x="0" y="975879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/>
          <p:cNvSpPr/>
          <p:nvPr/>
        </p:nvSpPr>
        <p:spPr>
          <a:xfrm>
            <a:off x="10026080" y="4182701"/>
            <a:ext cx="1397344" cy="1049278"/>
          </a:xfrm>
          <a:custGeom>
            <a:avLst/>
            <a:gdLst/>
            <a:ahLst/>
            <a:cxnLst/>
            <a:rect l="l" t="t" r="r" b="b"/>
            <a:pathLst>
              <a:path w="1397344" h="1049278">
                <a:moveTo>
                  <a:pt x="0" y="0"/>
                </a:moveTo>
                <a:lnTo>
                  <a:pt x="1397344" y="0"/>
                </a:lnTo>
                <a:lnTo>
                  <a:pt x="1397344" y="1049278"/>
                </a:lnTo>
                <a:lnTo>
                  <a:pt x="0" y="104927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37" name="Freeform 37"/>
          <p:cNvSpPr/>
          <p:nvPr/>
        </p:nvSpPr>
        <p:spPr>
          <a:xfrm>
            <a:off x="13766998" y="4165193"/>
            <a:ext cx="964077" cy="978307"/>
          </a:xfrm>
          <a:custGeom>
            <a:avLst/>
            <a:gdLst/>
            <a:ahLst/>
            <a:cxnLst/>
            <a:rect l="l" t="t" r="r" b="b"/>
            <a:pathLst>
              <a:path w="964077" h="978307">
                <a:moveTo>
                  <a:pt x="0" y="0"/>
                </a:moveTo>
                <a:lnTo>
                  <a:pt x="964077" y="0"/>
                </a:lnTo>
                <a:lnTo>
                  <a:pt x="964077" y="978307"/>
                </a:lnTo>
                <a:lnTo>
                  <a:pt x="0" y="978307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38" name="Freeform 38"/>
          <p:cNvSpPr/>
          <p:nvPr/>
        </p:nvSpPr>
        <p:spPr>
          <a:xfrm>
            <a:off x="3440521" y="4123630"/>
            <a:ext cx="1079092" cy="1061434"/>
          </a:xfrm>
          <a:custGeom>
            <a:avLst/>
            <a:gdLst/>
            <a:ahLst/>
            <a:cxnLst/>
            <a:rect l="l" t="t" r="r" b="b"/>
            <a:pathLst>
              <a:path w="1079092" h="1061434">
                <a:moveTo>
                  <a:pt x="0" y="0"/>
                </a:moveTo>
                <a:lnTo>
                  <a:pt x="1079091" y="0"/>
                </a:lnTo>
                <a:lnTo>
                  <a:pt x="1079091" y="1061433"/>
                </a:lnTo>
                <a:lnTo>
                  <a:pt x="0" y="106143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flipH="1" flipV="1"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10287000"/>
                </a:moveTo>
                <a:lnTo>
                  <a:pt x="0" y="10287000"/>
                </a:lnTo>
                <a:lnTo>
                  <a:pt x="0" y="0"/>
                </a:lnTo>
                <a:lnTo>
                  <a:pt x="18288000" y="0"/>
                </a:lnTo>
                <a:lnTo>
                  <a:pt x="18288000" y="10287000"/>
                </a:lnTo>
                <a:close/>
              </a:path>
            </a:pathLst>
          </a:custGeom>
          <a:blipFill>
            <a:blip r:embed="rId2"/>
            <a:stretch>
              <a:fillRect t="-38888" b="-38888"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-5013836" y="1028700"/>
            <a:ext cx="19354610" cy="2258023"/>
            <a:chOff x="0" y="0"/>
            <a:chExt cx="1876002" cy="21886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1876002" cy="218865"/>
            </a:xfrm>
            <a:custGeom>
              <a:avLst/>
              <a:gdLst/>
              <a:ahLst/>
              <a:cxnLst/>
              <a:rect l="l" t="t" r="r" b="b"/>
              <a:pathLst>
                <a:path w="1876002" h="218865">
                  <a:moveTo>
                    <a:pt x="1672802" y="0"/>
                  </a:moveTo>
                  <a:lnTo>
                    <a:pt x="0" y="0"/>
                  </a:lnTo>
                  <a:lnTo>
                    <a:pt x="203200" y="218865"/>
                  </a:lnTo>
                  <a:lnTo>
                    <a:pt x="1876002" y="218865"/>
                  </a:lnTo>
                  <a:lnTo>
                    <a:pt x="1672802" y="0"/>
                  </a:lnTo>
                  <a:close/>
                </a:path>
              </a:pathLst>
            </a:custGeom>
            <a:solidFill>
              <a:srgbClr val="010101"/>
            </a:solidFill>
            <a:ln cap="sq">
              <a:noFill/>
              <a:prstDash val="solid"/>
              <a:miter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101600" y="-19050"/>
              <a:ext cx="1672802" cy="23791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1794480" y="4205302"/>
            <a:ext cx="736150" cy="636369"/>
            <a:chOff x="0" y="0"/>
            <a:chExt cx="193883" cy="167603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93883" cy="167603"/>
            </a:xfrm>
            <a:custGeom>
              <a:avLst/>
              <a:gdLst/>
              <a:ahLst/>
              <a:cxnLst/>
              <a:rect l="l" t="t" r="r" b="b"/>
              <a:pathLst>
                <a:path w="193883" h="167603">
                  <a:moveTo>
                    <a:pt x="83802" y="0"/>
                  </a:moveTo>
                  <a:lnTo>
                    <a:pt x="110081" y="0"/>
                  </a:lnTo>
                  <a:cubicBezTo>
                    <a:pt x="156364" y="0"/>
                    <a:pt x="193883" y="37519"/>
                    <a:pt x="193883" y="83802"/>
                  </a:cubicBezTo>
                  <a:lnTo>
                    <a:pt x="193883" y="83802"/>
                  </a:lnTo>
                  <a:cubicBezTo>
                    <a:pt x="193883" y="130084"/>
                    <a:pt x="156364" y="167603"/>
                    <a:pt x="110081" y="167603"/>
                  </a:cubicBezTo>
                  <a:lnTo>
                    <a:pt x="83802" y="167603"/>
                  </a:lnTo>
                  <a:cubicBezTo>
                    <a:pt x="37519" y="167603"/>
                    <a:pt x="0" y="130084"/>
                    <a:pt x="0" y="83802"/>
                  </a:cubicBezTo>
                  <a:lnTo>
                    <a:pt x="0" y="83802"/>
                  </a:lnTo>
                  <a:cubicBezTo>
                    <a:pt x="0" y="37519"/>
                    <a:pt x="37519" y="0"/>
                    <a:pt x="83802" y="0"/>
                  </a:cubicBezTo>
                  <a:close/>
                </a:path>
              </a:pathLst>
            </a:custGeom>
            <a:solidFill>
              <a:srgbClr val="1A1A1A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66675"/>
              <a:ext cx="193883" cy="234278"/>
            </a:xfrm>
            <a:prstGeom prst="rect">
              <a:avLst/>
            </a:prstGeom>
          </p:spPr>
          <p:txBody>
            <a:bodyPr lIns="50800" tIns="50800" rIns="50800" bIns="50800" rtlCol="0" anchor="t"/>
            <a:lstStyle/>
            <a:p>
              <a:pPr marL="0" lvl="0" indent="0" algn="ctr">
                <a:lnSpc>
                  <a:spcPts val="4114"/>
                </a:lnSpc>
                <a:spcBef>
                  <a:spcPct val="0"/>
                </a:spcBef>
              </a:pPr>
              <a:r>
                <a:rPr lang="en-US" sz="2981" spc="29">
                  <a:solidFill>
                    <a:srgbClr val="FFFFFF"/>
                  </a:solidFill>
                  <a:latin typeface="Montserrat Classic Bold"/>
                  <a:ea typeface="Montserrat Classic Bold"/>
                  <a:cs typeface="Montserrat Classic Bold"/>
                  <a:sym typeface="Montserrat Classic Bold"/>
                </a:rPr>
                <a:t>01</a:t>
              </a:r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2689046" y="4167202"/>
            <a:ext cx="6346855" cy="13637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774"/>
              </a:lnSpc>
              <a:spcBef>
                <a:spcPct val="0"/>
              </a:spcBef>
            </a:pPr>
            <a:r>
              <a:rPr lang="en-US" sz="2010" spc="197">
                <a:solidFill>
                  <a:srgbClr val="231F2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grpSp>
        <p:nvGrpSpPr>
          <p:cNvPr id="10" name="Group 10"/>
          <p:cNvGrpSpPr/>
          <p:nvPr/>
        </p:nvGrpSpPr>
        <p:grpSpPr>
          <a:xfrm>
            <a:off x="12573606" y="3743682"/>
            <a:ext cx="3314591" cy="3314591"/>
            <a:chOff x="0" y="0"/>
            <a:chExt cx="4872604" cy="4872604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4872609" cy="4872609"/>
            </a:xfrm>
            <a:custGeom>
              <a:avLst/>
              <a:gdLst/>
              <a:ahLst/>
              <a:cxnLst/>
              <a:rect l="l" t="t" r="r" b="b"/>
              <a:pathLst>
                <a:path w="4872609" h="4872609">
                  <a:moveTo>
                    <a:pt x="1061593" y="2436241"/>
                  </a:moveTo>
                  <a:cubicBezTo>
                    <a:pt x="1061593" y="1687957"/>
                    <a:pt x="1688084" y="1061466"/>
                    <a:pt x="2436368" y="1061466"/>
                  </a:cubicBezTo>
                  <a:cubicBezTo>
                    <a:pt x="3202051" y="1061466"/>
                    <a:pt x="3811143" y="1687957"/>
                    <a:pt x="3811143" y="2436241"/>
                  </a:cubicBezTo>
                  <a:cubicBezTo>
                    <a:pt x="3811143" y="3201924"/>
                    <a:pt x="3202051" y="3811016"/>
                    <a:pt x="2436368" y="3811016"/>
                  </a:cubicBezTo>
                  <a:cubicBezTo>
                    <a:pt x="2436368" y="4872609"/>
                    <a:pt x="2436368" y="4872609"/>
                    <a:pt x="2436368" y="4872609"/>
                  </a:cubicBezTo>
                  <a:cubicBezTo>
                    <a:pt x="3776345" y="4872609"/>
                    <a:pt x="4872609" y="3776218"/>
                    <a:pt x="4872609" y="2436368"/>
                  </a:cubicBezTo>
                  <a:cubicBezTo>
                    <a:pt x="4872609" y="1096518"/>
                    <a:pt x="3776218" y="0"/>
                    <a:pt x="2436241" y="0"/>
                  </a:cubicBezTo>
                  <a:cubicBezTo>
                    <a:pt x="1096264" y="0"/>
                    <a:pt x="0" y="1096391"/>
                    <a:pt x="0" y="2436241"/>
                  </a:cubicBezTo>
                  <a:lnTo>
                    <a:pt x="1061593" y="2436241"/>
                  </a:lnTo>
                  <a:close/>
                </a:path>
              </a:pathLst>
            </a:custGeom>
            <a:solidFill>
              <a:srgbClr val="000000">
                <a:alpha val="16863"/>
              </a:srgbClr>
            </a:solidFill>
          </p:spPr>
        </p:sp>
      </p:grpSp>
      <p:grpSp>
        <p:nvGrpSpPr>
          <p:cNvPr id="12" name="Group 12"/>
          <p:cNvGrpSpPr/>
          <p:nvPr/>
        </p:nvGrpSpPr>
        <p:grpSpPr>
          <a:xfrm>
            <a:off x="9981212" y="3767100"/>
            <a:ext cx="3314591" cy="3326378"/>
            <a:chOff x="0" y="0"/>
            <a:chExt cx="4872604" cy="4889931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4872609" cy="4889881"/>
            </a:xfrm>
            <a:custGeom>
              <a:avLst/>
              <a:gdLst/>
              <a:ahLst/>
              <a:cxnLst/>
              <a:rect l="l" t="t" r="r" b="b"/>
              <a:pathLst>
                <a:path w="4872609" h="4889881">
                  <a:moveTo>
                    <a:pt x="3811016" y="2453640"/>
                  </a:moveTo>
                  <a:cubicBezTo>
                    <a:pt x="3811016" y="3201924"/>
                    <a:pt x="3201924" y="3828415"/>
                    <a:pt x="2436241" y="3828415"/>
                  </a:cubicBezTo>
                  <a:cubicBezTo>
                    <a:pt x="1687957" y="3828415"/>
                    <a:pt x="1061466" y="3201924"/>
                    <a:pt x="1061466" y="2453640"/>
                  </a:cubicBezTo>
                  <a:cubicBezTo>
                    <a:pt x="1061466" y="1687957"/>
                    <a:pt x="1687957" y="1078865"/>
                    <a:pt x="2436241" y="1078865"/>
                  </a:cubicBezTo>
                  <a:cubicBezTo>
                    <a:pt x="2436241" y="0"/>
                    <a:pt x="2436241" y="0"/>
                    <a:pt x="2436241" y="0"/>
                  </a:cubicBezTo>
                  <a:cubicBezTo>
                    <a:pt x="1096391" y="0"/>
                    <a:pt x="0" y="1096264"/>
                    <a:pt x="0" y="2453640"/>
                  </a:cubicBezTo>
                  <a:cubicBezTo>
                    <a:pt x="0" y="3793617"/>
                    <a:pt x="1096391" y="4889881"/>
                    <a:pt x="2436241" y="4889881"/>
                  </a:cubicBezTo>
                  <a:cubicBezTo>
                    <a:pt x="3776091" y="4889881"/>
                    <a:pt x="4872609" y="3793617"/>
                    <a:pt x="4872609" y="2453640"/>
                  </a:cubicBezTo>
                  <a:lnTo>
                    <a:pt x="3811016" y="2453640"/>
                  </a:lnTo>
                  <a:close/>
                </a:path>
              </a:pathLst>
            </a:custGeom>
            <a:solidFill>
              <a:srgbClr val="000000">
                <a:alpha val="16863"/>
              </a:srgbClr>
            </a:solidFill>
          </p:spPr>
        </p:sp>
      </p:grpSp>
      <p:grpSp>
        <p:nvGrpSpPr>
          <p:cNvPr id="14" name="Group 14"/>
          <p:cNvGrpSpPr/>
          <p:nvPr/>
        </p:nvGrpSpPr>
        <p:grpSpPr>
          <a:xfrm>
            <a:off x="12548713" y="6337440"/>
            <a:ext cx="3314591" cy="3315573"/>
            <a:chOff x="0" y="0"/>
            <a:chExt cx="4872604" cy="4874047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4872482" cy="4874006"/>
            </a:xfrm>
            <a:custGeom>
              <a:avLst/>
              <a:gdLst/>
              <a:ahLst/>
              <a:cxnLst/>
              <a:rect l="l" t="t" r="r" b="b"/>
              <a:pathLst>
                <a:path w="4872482" h="4874006">
                  <a:moveTo>
                    <a:pt x="3811016" y="2437003"/>
                  </a:moveTo>
                  <a:cubicBezTo>
                    <a:pt x="3811016" y="3202940"/>
                    <a:pt x="3201924" y="3812159"/>
                    <a:pt x="2436241" y="3812159"/>
                  </a:cubicBezTo>
                  <a:cubicBezTo>
                    <a:pt x="1687957" y="3812159"/>
                    <a:pt x="1061466" y="3202940"/>
                    <a:pt x="1061466" y="2437003"/>
                  </a:cubicBezTo>
                  <a:cubicBezTo>
                    <a:pt x="1061466" y="1688465"/>
                    <a:pt x="1687957" y="1061847"/>
                    <a:pt x="2436241" y="1061847"/>
                  </a:cubicBezTo>
                  <a:cubicBezTo>
                    <a:pt x="2436241" y="0"/>
                    <a:pt x="2436241" y="0"/>
                    <a:pt x="2436241" y="0"/>
                  </a:cubicBezTo>
                  <a:cubicBezTo>
                    <a:pt x="1096391" y="0"/>
                    <a:pt x="0" y="1096645"/>
                    <a:pt x="0" y="2437003"/>
                  </a:cubicBezTo>
                  <a:cubicBezTo>
                    <a:pt x="0" y="3777361"/>
                    <a:pt x="1096391" y="4874006"/>
                    <a:pt x="2436241" y="4874006"/>
                  </a:cubicBezTo>
                  <a:cubicBezTo>
                    <a:pt x="3776091" y="4874006"/>
                    <a:pt x="4872482" y="3777361"/>
                    <a:pt x="4872482" y="2437003"/>
                  </a:cubicBezTo>
                  <a:lnTo>
                    <a:pt x="3811016" y="2437003"/>
                  </a:lnTo>
                  <a:close/>
                </a:path>
              </a:pathLst>
            </a:custGeom>
            <a:solidFill>
              <a:srgbClr val="000000">
                <a:alpha val="16863"/>
              </a:srgbClr>
            </a:solidFill>
          </p:spPr>
        </p:sp>
      </p:grpSp>
      <p:grpSp>
        <p:nvGrpSpPr>
          <p:cNvPr id="16" name="Group 16"/>
          <p:cNvGrpSpPr/>
          <p:nvPr/>
        </p:nvGrpSpPr>
        <p:grpSpPr>
          <a:xfrm>
            <a:off x="10878301" y="4617656"/>
            <a:ext cx="1520413" cy="1520413"/>
            <a:chOff x="0" y="0"/>
            <a:chExt cx="812800" cy="812800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18" name="TextBox 18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19" name="Group 19"/>
          <p:cNvGrpSpPr/>
          <p:nvPr/>
        </p:nvGrpSpPr>
        <p:grpSpPr>
          <a:xfrm>
            <a:off x="13469664" y="7244657"/>
            <a:ext cx="1522475" cy="1522475"/>
            <a:chOff x="0" y="0"/>
            <a:chExt cx="812800" cy="812800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21" name="TextBox 21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grpSp>
        <p:nvGrpSpPr>
          <p:cNvPr id="22" name="Group 22"/>
          <p:cNvGrpSpPr/>
          <p:nvPr/>
        </p:nvGrpSpPr>
        <p:grpSpPr>
          <a:xfrm>
            <a:off x="13447581" y="4617656"/>
            <a:ext cx="1566642" cy="1566642"/>
            <a:chOff x="0" y="0"/>
            <a:chExt cx="812800" cy="812800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00000"/>
                  </a:srgbClr>
                </a:gs>
                <a:gs pos="100000">
                  <a:srgbClr val="555555">
                    <a:alpha val="100000"/>
                  </a:srgbClr>
                </a:gs>
              </a:gsLst>
              <a:lin ang="0"/>
            </a:gradFill>
          </p:spPr>
        </p:sp>
        <p:sp>
          <p:nvSpPr>
            <p:cNvPr id="24" name="TextBox 24"/>
            <p:cNvSpPr txBox="1"/>
            <p:nvPr/>
          </p:nvSpPr>
          <p:spPr>
            <a:xfrm>
              <a:off x="76200" y="57150"/>
              <a:ext cx="660400" cy="6794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59"/>
                </a:lnSpc>
              </a:pPr>
              <a:endParaRPr/>
            </a:p>
          </p:txBody>
        </p:sp>
      </p:grpSp>
      <p:sp>
        <p:nvSpPr>
          <p:cNvPr id="25" name="Freeform 25"/>
          <p:cNvSpPr/>
          <p:nvPr/>
        </p:nvSpPr>
        <p:spPr>
          <a:xfrm>
            <a:off x="11135381" y="4897605"/>
            <a:ext cx="1006253" cy="960515"/>
          </a:xfrm>
          <a:custGeom>
            <a:avLst/>
            <a:gdLst/>
            <a:ahLst/>
            <a:cxnLst/>
            <a:rect l="l" t="t" r="r" b="b"/>
            <a:pathLst>
              <a:path w="1006253" h="960515">
                <a:moveTo>
                  <a:pt x="0" y="0"/>
                </a:moveTo>
                <a:lnTo>
                  <a:pt x="1006253" y="0"/>
                </a:lnTo>
                <a:lnTo>
                  <a:pt x="1006253" y="960515"/>
                </a:lnTo>
                <a:lnTo>
                  <a:pt x="0" y="96051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26" name="Freeform 26"/>
          <p:cNvSpPr/>
          <p:nvPr/>
        </p:nvSpPr>
        <p:spPr>
          <a:xfrm>
            <a:off x="13779447" y="4906117"/>
            <a:ext cx="902910" cy="916237"/>
          </a:xfrm>
          <a:custGeom>
            <a:avLst/>
            <a:gdLst/>
            <a:ahLst/>
            <a:cxnLst/>
            <a:rect l="l" t="t" r="r" b="b"/>
            <a:pathLst>
              <a:path w="902910" h="916237">
                <a:moveTo>
                  <a:pt x="0" y="0"/>
                </a:moveTo>
                <a:lnTo>
                  <a:pt x="902910" y="0"/>
                </a:lnTo>
                <a:lnTo>
                  <a:pt x="902910" y="916237"/>
                </a:lnTo>
                <a:lnTo>
                  <a:pt x="0" y="916237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27" name="TextBox 27"/>
          <p:cNvSpPr txBox="1"/>
          <p:nvPr/>
        </p:nvSpPr>
        <p:spPr>
          <a:xfrm>
            <a:off x="1663813" y="1725604"/>
            <a:ext cx="9308329" cy="8129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ctr">
              <a:lnSpc>
                <a:spcPts val="6548"/>
              </a:lnSpc>
              <a:spcBef>
                <a:spcPct val="0"/>
              </a:spcBef>
            </a:pPr>
            <a:r>
              <a:rPr lang="en-US" sz="4745" u="none" strike="noStrike" spc="37">
                <a:solidFill>
                  <a:srgbClr val="FFFFFF"/>
                </a:solidFill>
                <a:latin typeface="Archivo Black"/>
                <a:ea typeface="Archivo Black"/>
                <a:cs typeface="Archivo Black"/>
                <a:sym typeface="Archivo Black"/>
              </a:rPr>
              <a:t>GOALS AND OBJECTIVES</a:t>
            </a:r>
          </a:p>
        </p:txBody>
      </p:sp>
      <p:grpSp>
        <p:nvGrpSpPr>
          <p:cNvPr id="28" name="Group 28"/>
          <p:cNvGrpSpPr/>
          <p:nvPr/>
        </p:nvGrpSpPr>
        <p:grpSpPr>
          <a:xfrm>
            <a:off x="916860" y="3148979"/>
            <a:ext cx="5689104" cy="275488"/>
            <a:chOff x="0" y="0"/>
            <a:chExt cx="4519796" cy="218865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4519796" cy="218865"/>
            </a:xfrm>
            <a:custGeom>
              <a:avLst/>
              <a:gdLst/>
              <a:ahLst/>
              <a:cxnLst/>
              <a:rect l="l" t="t" r="r" b="b"/>
              <a:pathLst>
                <a:path w="4519796" h="218865">
                  <a:moveTo>
                    <a:pt x="4316596" y="0"/>
                  </a:moveTo>
                  <a:lnTo>
                    <a:pt x="0" y="0"/>
                  </a:lnTo>
                  <a:lnTo>
                    <a:pt x="203200" y="218865"/>
                  </a:lnTo>
                  <a:lnTo>
                    <a:pt x="4519796" y="218865"/>
                  </a:lnTo>
                  <a:lnTo>
                    <a:pt x="4316596" y="0"/>
                  </a:lnTo>
                  <a:close/>
                </a:path>
              </a:pathLst>
            </a:custGeom>
            <a:solidFill>
              <a:srgbClr val="727070"/>
            </a:solidFill>
            <a:ln cap="sq">
              <a:noFill/>
              <a:prstDash val="solid"/>
              <a:miter/>
            </a:ln>
          </p:spPr>
        </p:sp>
        <p:sp>
          <p:nvSpPr>
            <p:cNvPr id="30" name="TextBox 30"/>
            <p:cNvSpPr txBox="1"/>
            <p:nvPr/>
          </p:nvSpPr>
          <p:spPr>
            <a:xfrm>
              <a:off x="101600" y="-19050"/>
              <a:ext cx="4316596" cy="23791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31" name="Group 31"/>
          <p:cNvGrpSpPr/>
          <p:nvPr/>
        </p:nvGrpSpPr>
        <p:grpSpPr>
          <a:xfrm>
            <a:off x="1794480" y="5806594"/>
            <a:ext cx="736150" cy="662821"/>
            <a:chOff x="0" y="0"/>
            <a:chExt cx="193883" cy="174570"/>
          </a:xfrm>
        </p:grpSpPr>
        <p:sp>
          <p:nvSpPr>
            <p:cNvPr id="32" name="Freeform 32"/>
            <p:cNvSpPr/>
            <p:nvPr/>
          </p:nvSpPr>
          <p:spPr>
            <a:xfrm>
              <a:off x="0" y="0"/>
              <a:ext cx="193883" cy="174570"/>
            </a:xfrm>
            <a:custGeom>
              <a:avLst/>
              <a:gdLst/>
              <a:ahLst/>
              <a:cxnLst/>
              <a:rect l="l" t="t" r="r" b="b"/>
              <a:pathLst>
                <a:path w="193883" h="174570">
                  <a:moveTo>
                    <a:pt x="84134" y="0"/>
                  </a:moveTo>
                  <a:lnTo>
                    <a:pt x="109749" y="0"/>
                  </a:lnTo>
                  <a:cubicBezTo>
                    <a:pt x="156215" y="0"/>
                    <a:pt x="193883" y="37668"/>
                    <a:pt x="193883" y="84134"/>
                  </a:cubicBezTo>
                  <a:lnTo>
                    <a:pt x="193883" y="90436"/>
                  </a:lnTo>
                  <a:cubicBezTo>
                    <a:pt x="193883" y="136902"/>
                    <a:pt x="156215" y="174570"/>
                    <a:pt x="109749" y="174570"/>
                  </a:cubicBezTo>
                  <a:lnTo>
                    <a:pt x="84134" y="174570"/>
                  </a:lnTo>
                  <a:cubicBezTo>
                    <a:pt x="37668" y="174570"/>
                    <a:pt x="0" y="136902"/>
                    <a:pt x="0" y="90436"/>
                  </a:cubicBezTo>
                  <a:lnTo>
                    <a:pt x="0" y="84134"/>
                  </a:lnTo>
                  <a:cubicBezTo>
                    <a:pt x="0" y="37668"/>
                    <a:pt x="37668" y="0"/>
                    <a:pt x="84134" y="0"/>
                  </a:cubicBezTo>
                  <a:close/>
                </a:path>
              </a:pathLst>
            </a:custGeom>
            <a:solidFill>
              <a:srgbClr val="1A1A1A"/>
            </a:solidFill>
          </p:spPr>
        </p:sp>
        <p:sp>
          <p:nvSpPr>
            <p:cNvPr id="33" name="TextBox 33"/>
            <p:cNvSpPr txBox="1"/>
            <p:nvPr/>
          </p:nvSpPr>
          <p:spPr>
            <a:xfrm>
              <a:off x="0" y="-66675"/>
              <a:ext cx="193883" cy="241245"/>
            </a:xfrm>
            <a:prstGeom prst="rect">
              <a:avLst/>
            </a:prstGeom>
          </p:spPr>
          <p:txBody>
            <a:bodyPr lIns="50800" tIns="50800" rIns="50800" bIns="50800" rtlCol="0" anchor="t"/>
            <a:lstStyle/>
            <a:p>
              <a:pPr marL="0" lvl="0" indent="0" algn="ctr">
                <a:lnSpc>
                  <a:spcPts val="4114"/>
                </a:lnSpc>
                <a:spcBef>
                  <a:spcPct val="0"/>
                </a:spcBef>
              </a:pPr>
              <a:r>
                <a:rPr lang="en-US" sz="2981" spc="29">
                  <a:solidFill>
                    <a:srgbClr val="FFFFFF"/>
                  </a:solidFill>
                  <a:latin typeface="Montserrat Classic Bold"/>
                  <a:ea typeface="Montserrat Classic Bold"/>
                  <a:cs typeface="Montserrat Classic Bold"/>
                  <a:sym typeface="Montserrat Classic Bold"/>
                </a:rPr>
                <a:t>02</a:t>
              </a:r>
            </a:p>
          </p:txBody>
        </p:sp>
      </p:grpSp>
      <p:sp>
        <p:nvSpPr>
          <p:cNvPr id="34" name="TextBox 34"/>
          <p:cNvSpPr txBox="1"/>
          <p:nvPr/>
        </p:nvSpPr>
        <p:spPr>
          <a:xfrm>
            <a:off x="2689046" y="5768494"/>
            <a:ext cx="6346855" cy="13637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774"/>
              </a:lnSpc>
              <a:spcBef>
                <a:spcPct val="0"/>
              </a:spcBef>
            </a:pPr>
            <a:r>
              <a:rPr lang="en-US" sz="2010" spc="197">
                <a:solidFill>
                  <a:srgbClr val="231F2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grpSp>
        <p:nvGrpSpPr>
          <p:cNvPr id="35" name="Group 35"/>
          <p:cNvGrpSpPr/>
          <p:nvPr/>
        </p:nvGrpSpPr>
        <p:grpSpPr>
          <a:xfrm>
            <a:off x="1794480" y="7382708"/>
            <a:ext cx="736150" cy="662821"/>
            <a:chOff x="0" y="0"/>
            <a:chExt cx="193883" cy="174570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93883" cy="174570"/>
            </a:xfrm>
            <a:custGeom>
              <a:avLst/>
              <a:gdLst/>
              <a:ahLst/>
              <a:cxnLst/>
              <a:rect l="l" t="t" r="r" b="b"/>
              <a:pathLst>
                <a:path w="193883" h="174570">
                  <a:moveTo>
                    <a:pt x="84134" y="0"/>
                  </a:moveTo>
                  <a:lnTo>
                    <a:pt x="109749" y="0"/>
                  </a:lnTo>
                  <a:cubicBezTo>
                    <a:pt x="156215" y="0"/>
                    <a:pt x="193883" y="37668"/>
                    <a:pt x="193883" y="84134"/>
                  </a:cubicBezTo>
                  <a:lnTo>
                    <a:pt x="193883" y="90436"/>
                  </a:lnTo>
                  <a:cubicBezTo>
                    <a:pt x="193883" y="136902"/>
                    <a:pt x="156215" y="174570"/>
                    <a:pt x="109749" y="174570"/>
                  </a:cubicBezTo>
                  <a:lnTo>
                    <a:pt x="84134" y="174570"/>
                  </a:lnTo>
                  <a:cubicBezTo>
                    <a:pt x="37668" y="174570"/>
                    <a:pt x="0" y="136902"/>
                    <a:pt x="0" y="90436"/>
                  </a:cubicBezTo>
                  <a:lnTo>
                    <a:pt x="0" y="84134"/>
                  </a:lnTo>
                  <a:cubicBezTo>
                    <a:pt x="0" y="37668"/>
                    <a:pt x="37668" y="0"/>
                    <a:pt x="84134" y="0"/>
                  </a:cubicBezTo>
                  <a:close/>
                </a:path>
              </a:pathLst>
            </a:custGeom>
            <a:solidFill>
              <a:srgbClr val="1A1A1A"/>
            </a:solidFill>
          </p:spPr>
        </p:sp>
        <p:sp>
          <p:nvSpPr>
            <p:cNvPr id="37" name="TextBox 37"/>
            <p:cNvSpPr txBox="1"/>
            <p:nvPr/>
          </p:nvSpPr>
          <p:spPr>
            <a:xfrm>
              <a:off x="0" y="-66675"/>
              <a:ext cx="193883" cy="241245"/>
            </a:xfrm>
            <a:prstGeom prst="rect">
              <a:avLst/>
            </a:prstGeom>
          </p:spPr>
          <p:txBody>
            <a:bodyPr lIns="50800" tIns="50800" rIns="50800" bIns="50800" rtlCol="0" anchor="t"/>
            <a:lstStyle/>
            <a:p>
              <a:pPr marL="0" lvl="0" indent="0" algn="ctr">
                <a:lnSpc>
                  <a:spcPts val="4114"/>
                </a:lnSpc>
                <a:spcBef>
                  <a:spcPct val="0"/>
                </a:spcBef>
              </a:pPr>
              <a:r>
                <a:rPr lang="en-US" sz="2981" spc="29">
                  <a:solidFill>
                    <a:srgbClr val="FFFFFF"/>
                  </a:solidFill>
                  <a:latin typeface="Montserrat Classic Bold"/>
                  <a:ea typeface="Montserrat Classic Bold"/>
                  <a:cs typeface="Montserrat Classic Bold"/>
                  <a:sym typeface="Montserrat Classic Bold"/>
                </a:rPr>
                <a:t>03</a:t>
              </a:r>
            </a:p>
          </p:txBody>
        </p:sp>
      </p:grpSp>
      <p:sp>
        <p:nvSpPr>
          <p:cNvPr id="38" name="TextBox 38"/>
          <p:cNvSpPr txBox="1"/>
          <p:nvPr/>
        </p:nvSpPr>
        <p:spPr>
          <a:xfrm>
            <a:off x="2689046" y="7344608"/>
            <a:ext cx="6346855" cy="13637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774"/>
              </a:lnSpc>
              <a:spcBef>
                <a:spcPct val="0"/>
              </a:spcBef>
            </a:pPr>
            <a:r>
              <a:rPr lang="en-US" sz="2010" spc="197">
                <a:solidFill>
                  <a:srgbClr val="231F2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orem ipsum dolor sit amet, consectetur adipiscing elit. Duis vulputate nulla at ante rhoncus, vel efficitur felis condimentum. Proin odio odio.</a:t>
            </a:r>
          </a:p>
        </p:txBody>
      </p:sp>
      <p:grpSp>
        <p:nvGrpSpPr>
          <p:cNvPr id="39" name="Group 39"/>
          <p:cNvGrpSpPr/>
          <p:nvPr/>
        </p:nvGrpSpPr>
        <p:grpSpPr>
          <a:xfrm>
            <a:off x="12085550" y="-131220"/>
            <a:ext cx="9534019" cy="1112295"/>
            <a:chOff x="0" y="0"/>
            <a:chExt cx="1876002" cy="218865"/>
          </a:xfrm>
        </p:grpSpPr>
        <p:sp>
          <p:nvSpPr>
            <p:cNvPr id="40" name="Freeform 40"/>
            <p:cNvSpPr/>
            <p:nvPr/>
          </p:nvSpPr>
          <p:spPr>
            <a:xfrm>
              <a:off x="0" y="0"/>
              <a:ext cx="1876002" cy="218865"/>
            </a:xfrm>
            <a:custGeom>
              <a:avLst/>
              <a:gdLst/>
              <a:ahLst/>
              <a:cxnLst/>
              <a:rect l="l" t="t" r="r" b="b"/>
              <a:pathLst>
                <a:path w="1876002" h="218865">
                  <a:moveTo>
                    <a:pt x="1672802" y="0"/>
                  </a:moveTo>
                  <a:lnTo>
                    <a:pt x="0" y="0"/>
                  </a:lnTo>
                  <a:lnTo>
                    <a:pt x="203200" y="218865"/>
                  </a:lnTo>
                  <a:lnTo>
                    <a:pt x="1876002" y="218865"/>
                  </a:lnTo>
                  <a:lnTo>
                    <a:pt x="1672802" y="0"/>
                  </a:lnTo>
                  <a:close/>
                </a:path>
              </a:pathLst>
            </a:custGeom>
            <a:solidFill>
              <a:srgbClr val="363636"/>
            </a:solidFill>
            <a:ln cap="sq">
              <a:noFill/>
              <a:prstDash val="solid"/>
              <a:miter/>
            </a:ln>
          </p:spPr>
        </p:sp>
        <p:sp>
          <p:nvSpPr>
            <p:cNvPr id="41" name="TextBox 41"/>
            <p:cNvSpPr txBox="1"/>
            <p:nvPr/>
          </p:nvSpPr>
          <p:spPr>
            <a:xfrm>
              <a:off x="101600" y="-19050"/>
              <a:ext cx="1672802" cy="23791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lvl="0" indent="0" algn="ctr">
                <a:lnSpc>
                  <a:spcPts val="28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42" name="AutoShape 42"/>
          <p:cNvSpPr/>
          <p:nvPr/>
        </p:nvSpPr>
        <p:spPr>
          <a:xfrm>
            <a:off x="-715490" y="962025"/>
            <a:ext cx="12921291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43" name="Freeform 43"/>
          <p:cNvSpPr/>
          <p:nvPr/>
        </p:nvSpPr>
        <p:spPr>
          <a:xfrm>
            <a:off x="13779447" y="7532947"/>
            <a:ext cx="902910" cy="902910"/>
          </a:xfrm>
          <a:custGeom>
            <a:avLst/>
            <a:gdLst/>
            <a:ahLst/>
            <a:cxnLst/>
            <a:rect l="l" t="t" r="r" b="b"/>
            <a:pathLst>
              <a:path w="902910" h="902910">
                <a:moveTo>
                  <a:pt x="0" y="0"/>
                </a:moveTo>
                <a:lnTo>
                  <a:pt x="902910" y="0"/>
                </a:lnTo>
                <a:lnTo>
                  <a:pt x="902910" y="902910"/>
                </a:lnTo>
                <a:lnTo>
                  <a:pt x="0" y="902910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5</TotalTime>
  <Words>1117</Words>
  <Application>Microsoft Office PowerPoint</Application>
  <PresentationFormat>Custom</PresentationFormat>
  <Paragraphs>155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Calibri</vt:lpstr>
      <vt:lpstr>Montserrat Classic</vt:lpstr>
      <vt:lpstr>Montserrat Light Bold</vt:lpstr>
      <vt:lpstr>Arial Rounded MT Bold</vt:lpstr>
      <vt:lpstr>Montserrat Light</vt:lpstr>
      <vt:lpstr>Montserrat Classic Bold</vt:lpstr>
      <vt:lpstr>Arial Narrow</vt:lpstr>
      <vt:lpstr>Archivo Black</vt:lpstr>
      <vt:lpstr>Arial</vt:lpstr>
      <vt:lpstr>Raleway Light</vt:lpstr>
      <vt:lpstr>Arial Black</vt:lpstr>
      <vt:lpstr>Algerian</vt:lpstr>
      <vt:lpstr>Times New Roman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y Modern Professional Business Project Presentation</dc:title>
  <dc:creator>Harish Rolli</dc:creator>
  <cp:lastModifiedBy>Harish Rolli</cp:lastModifiedBy>
  <cp:revision>6</cp:revision>
  <dcterms:created xsi:type="dcterms:W3CDTF">2006-08-16T00:00:00Z</dcterms:created>
  <dcterms:modified xsi:type="dcterms:W3CDTF">2024-07-09T18:47:49Z</dcterms:modified>
  <dc:identifier>DAGKYGkcAWA</dc:identifier>
</cp:coreProperties>
</file>